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702" r:id="rId2"/>
  </p:sldMasterIdLst>
  <p:notesMasterIdLst>
    <p:notesMasterId r:id="rId14"/>
  </p:notesMasterIdLst>
  <p:handoutMasterIdLst>
    <p:handoutMasterId r:id="rId15"/>
  </p:handoutMasterIdLst>
  <p:sldIdLst>
    <p:sldId id="257" r:id="rId3"/>
    <p:sldId id="399" r:id="rId4"/>
    <p:sldId id="400" r:id="rId5"/>
    <p:sldId id="290" r:id="rId6"/>
    <p:sldId id="261" r:id="rId7"/>
    <p:sldId id="263" r:id="rId8"/>
    <p:sldId id="264" r:id="rId9"/>
    <p:sldId id="398" r:id="rId10"/>
    <p:sldId id="341" r:id="rId11"/>
    <p:sldId id="277" r:id="rId12"/>
    <p:sldId id="289" r:id="rId13"/>
  </p:sldIdLst>
  <p:sldSz cx="12192000" cy="6858000"/>
  <p:notesSz cx="7315200" cy="9601200"/>
  <p:embeddedFontLst>
    <p:embeddedFont>
      <p:font typeface="Calibri" panose="020F0502020204030204" pitchFamily="34" charset="0"/>
      <p:regular r:id="rId16"/>
      <p:bold r:id="rId17"/>
      <p:italic r:id="rId18"/>
      <p:boldItalic r:id="rId19"/>
    </p:embeddedFont>
    <p:embeddedFont>
      <p:font typeface="Lato" panose="020F0502020204030203" pitchFamily="34" charset="0"/>
      <p:regular r:id="rId20"/>
      <p:bold r:id="rId21"/>
      <p:italic r:id="rId22"/>
      <p:boldItalic r:id="rId23"/>
    </p:embeddedFont>
    <p:embeddedFont>
      <p:font typeface="Montserrat" panose="00000500000000000000" pitchFamily="2" charset="0"/>
      <p:regular r:id="rId24"/>
      <p:bold r:id="rId25"/>
      <p:italic r:id="rId26"/>
      <p:boldItalic r:id="rId27"/>
    </p:embeddedFont>
    <p:embeddedFont>
      <p:font typeface="Montserrat Medium" panose="00000600000000000000" pitchFamily="2" charset="0"/>
      <p:regular r:id="rId28"/>
      <p:italic r:id="rId29"/>
    </p:embeddedFont>
    <p:embeddedFont>
      <p:font typeface="Open Sans" panose="020B0606030504020204" pitchFamily="34" charset="0"/>
      <p:regular r:id="rId30"/>
      <p:bold r:id="rId31"/>
      <p:italic r:id="rId32"/>
      <p:boldItalic r:id="rId33"/>
    </p:embeddedFont>
    <p:embeddedFont>
      <p:font typeface="Raleway" pitchFamily="2" charset="0"/>
      <p:regular r:id="rId34"/>
      <p:bold r:id="rId35"/>
      <p:italic r:id="rId36"/>
      <p:bold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4070"/>
    <a:srgbClr val="FFC000"/>
    <a:srgbClr val="065E9B"/>
    <a:srgbClr val="5791D8"/>
    <a:srgbClr val="383334"/>
    <a:srgbClr val="CEBA95"/>
    <a:srgbClr val="0087FA"/>
    <a:srgbClr val="262626"/>
    <a:srgbClr val="FFFFFF"/>
    <a:srgbClr val="004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20" autoAdjust="0"/>
    <p:restoredTop sz="94660"/>
  </p:normalViewPr>
  <p:slideViewPr>
    <p:cSldViewPr snapToGrid="0" showGuides="1">
      <p:cViewPr varScale="1">
        <p:scale>
          <a:sx n="59" d="100"/>
          <a:sy n="59" d="100"/>
        </p:scale>
        <p:origin x="628" y="52"/>
      </p:cViewPr>
      <p:guideLst>
        <p:guide orient="horz" pos="2160"/>
        <p:guide pos="3840"/>
      </p:guideLst>
    </p:cSldViewPr>
  </p:slideViewPr>
  <p:notesTextViewPr>
    <p:cViewPr>
      <p:scale>
        <a:sx n="3" d="2"/>
        <a:sy n="3" d="2"/>
      </p:scale>
      <p:origin x="0" y="0"/>
    </p:cViewPr>
  </p:notesTextViewPr>
  <p:sorterViewPr>
    <p:cViewPr>
      <p:scale>
        <a:sx n="150" d="100"/>
        <a:sy n="150" d="100"/>
      </p:scale>
      <p:origin x="0" y="-10350"/>
    </p:cViewPr>
  </p:sorterViewPr>
  <p:notesViewPr>
    <p:cSldViewPr snapToGrid="0" showGuides="1">
      <p:cViewPr varScale="1">
        <p:scale>
          <a:sx n="66" d="100"/>
          <a:sy n="66" d="100"/>
        </p:scale>
        <p:origin x="3134"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font" Target="fonts/font3.fntdata"/><Relationship Id="rId26" Type="http://schemas.openxmlformats.org/officeDocument/2006/relationships/font" Target="fonts/font11.fntdata"/><Relationship Id="rId39" Type="http://schemas.openxmlformats.org/officeDocument/2006/relationships/viewProps" Target="viewProps.xml"/><Relationship Id="rId21" Type="http://schemas.openxmlformats.org/officeDocument/2006/relationships/font" Target="fonts/font6.fntdata"/><Relationship Id="rId34" Type="http://schemas.openxmlformats.org/officeDocument/2006/relationships/font" Target="fonts/font19.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font" Target="fonts/font14.fntdata"/><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9.fntdata"/><Relationship Id="rId32" Type="http://schemas.openxmlformats.org/officeDocument/2006/relationships/font" Target="fonts/font17.fntdata"/><Relationship Id="rId37" Type="http://schemas.openxmlformats.org/officeDocument/2006/relationships/font" Target="fonts/font22.fntdata"/><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font" Target="fonts/font21.fntdata"/><Relationship Id="rId10" Type="http://schemas.openxmlformats.org/officeDocument/2006/relationships/slide" Target="slides/slide8.xml"/><Relationship Id="rId19" Type="http://schemas.openxmlformats.org/officeDocument/2006/relationships/font" Target="fonts/font4.fntdata"/><Relationship Id="rId31" Type="http://schemas.openxmlformats.org/officeDocument/2006/relationships/font" Target="fonts/font16.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font" Target="fonts/font20.fntdata"/><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font" Target="fonts/font18.fntdata"/><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243807-169A-4AE8-8FC0-DE5797F152E2}" type="doc">
      <dgm:prSet loTypeId="urn:microsoft.com/office/officeart/2008/layout/HalfCircleOrganizationChart" loCatId="hierarchy" qsTypeId="urn:microsoft.com/office/officeart/2005/8/quickstyle/simple1" qsCatId="simple" csTypeId="urn:microsoft.com/office/officeart/2005/8/colors/colorful1" csCatId="colorful" phldr="1"/>
      <dgm:spPr/>
      <dgm:t>
        <a:bodyPr/>
        <a:lstStyle/>
        <a:p>
          <a:endParaRPr lang="en-US"/>
        </a:p>
      </dgm:t>
    </dgm:pt>
    <dgm:pt modelId="{BD36C393-C2B6-47AA-836E-93243BD014B7}" type="asst">
      <dgm:prSet phldrT="[Text]" custT="1"/>
      <dgm:spPr/>
      <dgm:t>
        <a:bodyPr/>
        <a:lstStyle/>
        <a:p>
          <a:r>
            <a:rPr lang="en-US" sz="1000" b="1" dirty="0"/>
            <a:t>T1</a:t>
          </a:r>
        </a:p>
      </dgm:t>
    </dgm:pt>
    <dgm:pt modelId="{CD00D4A5-D11B-42BA-8E31-A298EE8B7A61}" type="parTrans" cxnId="{69332F1F-0AD5-4BD5-B19E-75013FE073DD}">
      <dgm:prSet/>
      <dgm:spPr/>
      <dgm:t>
        <a:bodyPr/>
        <a:lstStyle/>
        <a:p>
          <a:endParaRPr lang="en-US" sz="1000" b="1"/>
        </a:p>
      </dgm:t>
    </dgm:pt>
    <dgm:pt modelId="{9755732C-1CDD-4519-AA5D-A973CEF0239B}" type="sibTrans" cxnId="{69332F1F-0AD5-4BD5-B19E-75013FE073DD}">
      <dgm:prSet/>
      <dgm:spPr/>
      <dgm:t>
        <a:bodyPr/>
        <a:lstStyle/>
        <a:p>
          <a:endParaRPr lang="en-US" sz="1000" b="1"/>
        </a:p>
      </dgm:t>
    </dgm:pt>
    <dgm:pt modelId="{C7BB80D3-4650-42BF-B9D3-12BAAE34DAEA}" type="asst">
      <dgm:prSet phldrT="[Text]" custT="1"/>
      <dgm:spPr/>
      <dgm:t>
        <a:bodyPr/>
        <a:lstStyle/>
        <a:p>
          <a:r>
            <a:rPr lang="en-US" sz="1000" b="1" dirty="0"/>
            <a:t>EXCEL</a:t>
          </a:r>
        </a:p>
      </dgm:t>
    </dgm:pt>
    <dgm:pt modelId="{0A002493-4DDC-4FCA-B30A-F6C926DB7BE0}" type="parTrans" cxnId="{F12EBE07-10E1-49EC-9629-1EF5787B2720}">
      <dgm:prSet/>
      <dgm:spPr/>
      <dgm:t>
        <a:bodyPr/>
        <a:lstStyle/>
        <a:p>
          <a:endParaRPr lang="en-US" sz="1000" b="1"/>
        </a:p>
      </dgm:t>
    </dgm:pt>
    <dgm:pt modelId="{D1245C41-7252-4EA6-BFBB-ED9AD548BC2E}" type="sibTrans" cxnId="{F12EBE07-10E1-49EC-9629-1EF5787B2720}">
      <dgm:prSet/>
      <dgm:spPr/>
      <dgm:t>
        <a:bodyPr/>
        <a:lstStyle/>
        <a:p>
          <a:endParaRPr lang="en-US" sz="1000" b="1"/>
        </a:p>
      </dgm:t>
    </dgm:pt>
    <dgm:pt modelId="{0744E35B-FD72-46EC-9CEC-A26DC268F0C4}" type="asst">
      <dgm:prSet phldrT="[Text]" custT="1"/>
      <dgm:spPr/>
      <dgm:t>
        <a:bodyPr/>
        <a:lstStyle/>
        <a:p>
          <a:r>
            <a:rPr lang="en-US" sz="1000" b="1" dirty="0"/>
            <a:t>T2</a:t>
          </a:r>
        </a:p>
      </dgm:t>
    </dgm:pt>
    <dgm:pt modelId="{F3419DFE-2623-4864-92D1-66D2ED721B99}" type="parTrans" cxnId="{F4D3CD19-C609-40B7-8F12-EB245DAEC27A}">
      <dgm:prSet/>
      <dgm:spPr/>
      <dgm:t>
        <a:bodyPr/>
        <a:lstStyle/>
        <a:p>
          <a:endParaRPr lang="en-US" sz="1000" b="1"/>
        </a:p>
      </dgm:t>
    </dgm:pt>
    <dgm:pt modelId="{31BBF6ED-1AB8-49F5-A115-E44D8E1F3A7C}" type="sibTrans" cxnId="{F4D3CD19-C609-40B7-8F12-EB245DAEC27A}">
      <dgm:prSet/>
      <dgm:spPr/>
      <dgm:t>
        <a:bodyPr/>
        <a:lstStyle/>
        <a:p>
          <a:endParaRPr lang="en-US" sz="1000" b="1"/>
        </a:p>
      </dgm:t>
    </dgm:pt>
    <dgm:pt modelId="{98292CFA-F98C-462B-883B-C84F6DEFD95A}" type="asst">
      <dgm:prSet phldrT="[Text]" custT="1"/>
      <dgm:spPr/>
      <dgm:t>
        <a:bodyPr/>
        <a:lstStyle/>
        <a:p>
          <a:r>
            <a:rPr lang="en-US" sz="1000" b="1" dirty="0"/>
            <a:t>T3</a:t>
          </a:r>
        </a:p>
      </dgm:t>
    </dgm:pt>
    <dgm:pt modelId="{2DC05B9E-6B18-4E02-BABC-4C8376CA3AA0}" type="parTrans" cxnId="{327AE2A5-BFD0-4554-A60B-9966E3FA87F1}">
      <dgm:prSet/>
      <dgm:spPr/>
      <dgm:t>
        <a:bodyPr/>
        <a:lstStyle/>
        <a:p>
          <a:endParaRPr lang="en-US" sz="1000" b="1"/>
        </a:p>
      </dgm:t>
    </dgm:pt>
    <dgm:pt modelId="{18425246-F21B-48F1-8995-3AB1591FA703}" type="sibTrans" cxnId="{327AE2A5-BFD0-4554-A60B-9966E3FA87F1}">
      <dgm:prSet/>
      <dgm:spPr/>
      <dgm:t>
        <a:bodyPr/>
        <a:lstStyle/>
        <a:p>
          <a:endParaRPr lang="en-US" sz="1000" b="1"/>
        </a:p>
      </dgm:t>
    </dgm:pt>
    <dgm:pt modelId="{976ED11A-6C84-4C41-B6F7-890956AA9B1F}" type="asst">
      <dgm:prSet phldrT="[Text]" custT="1"/>
      <dgm:spPr/>
      <dgm:t>
        <a:bodyPr/>
        <a:lstStyle/>
        <a:p>
          <a:r>
            <a:rPr lang="en-US" sz="1000" b="1" dirty="0"/>
            <a:t>T4</a:t>
          </a:r>
        </a:p>
      </dgm:t>
    </dgm:pt>
    <dgm:pt modelId="{E97F3190-F492-4358-9D1B-98F7470DE474}" type="parTrans" cxnId="{FCDE9446-47E9-431C-A846-AE893339678A}">
      <dgm:prSet/>
      <dgm:spPr/>
      <dgm:t>
        <a:bodyPr/>
        <a:lstStyle/>
        <a:p>
          <a:endParaRPr lang="en-US" sz="1000" b="1"/>
        </a:p>
      </dgm:t>
    </dgm:pt>
    <dgm:pt modelId="{B60CF4A7-1971-46BB-A132-397064D487BB}" type="sibTrans" cxnId="{FCDE9446-47E9-431C-A846-AE893339678A}">
      <dgm:prSet/>
      <dgm:spPr/>
      <dgm:t>
        <a:bodyPr/>
        <a:lstStyle/>
        <a:p>
          <a:endParaRPr lang="en-US" sz="1000" b="1"/>
        </a:p>
      </dgm:t>
    </dgm:pt>
    <dgm:pt modelId="{F50B3D0E-AA65-474E-8C4A-FF36BD84ED1C}" type="asst">
      <dgm:prSet phldrT="[Text]" custT="1"/>
      <dgm:spPr/>
      <dgm:t>
        <a:bodyPr/>
        <a:lstStyle/>
        <a:p>
          <a:r>
            <a:rPr lang="en-US" sz="1000" b="1" dirty="0"/>
            <a:t>EXCEL</a:t>
          </a:r>
        </a:p>
      </dgm:t>
    </dgm:pt>
    <dgm:pt modelId="{434B9738-A42E-440C-94AF-DB94C1FFA8D7}" type="parTrans" cxnId="{42CB2BEA-F560-4DD8-8747-CFA7A90E14AF}">
      <dgm:prSet/>
      <dgm:spPr/>
      <dgm:t>
        <a:bodyPr/>
        <a:lstStyle/>
        <a:p>
          <a:endParaRPr lang="en-US" sz="1000" b="1"/>
        </a:p>
      </dgm:t>
    </dgm:pt>
    <dgm:pt modelId="{5D59CF28-7416-4A6A-AFCE-D098AD136A45}" type="sibTrans" cxnId="{42CB2BEA-F560-4DD8-8747-CFA7A90E14AF}">
      <dgm:prSet/>
      <dgm:spPr/>
      <dgm:t>
        <a:bodyPr/>
        <a:lstStyle/>
        <a:p>
          <a:endParaRPr lang="en-US" sz="1000" b="1"/>
        </a:p>
      </dgm:t>
    </dgm:pt>
    <dgm:pt modelId="{333351D2-C7DE-455C-8C90-92DE4E0A8602}">
      <dgm:prSet phldrT="[Text]" custT="1"/>
      <dgm:spPr/>
      <dgm:t>
        <a:bodyPr/>
        <a:lstStyle/>
        <a:p>
          <a:r>
            <a:rPr lang="en-US" sz="1000" b="1" dirty="0">
              <a:latin typeface="Raleway" pitchFamily="2" charset="0"/>
            </a:rPr>
            <a:t>Comprehensive Risk Data Mart / Aggregation –BCBS 23General Ledger &amp; Accounting Reconciliation</a:t>
          </a:r>
        </a:p>
      </dgm:t>
    </dgm:pt>
    <dgm:pt modelId="{EF76CD78-F7B2-4498-A3D1-CDE7D5DFF184}" type="sibTrans" cxnId="{A8FE4DA8-4882-4D58-89FF-2757C9B44131}">
      <dgm:prSet/>
      <dgm:spPr/>
      <dgm:t>
        <a:bodyPr/>
        <a:lstStyle/>
        <a:p>
          <a:endParaRPr lang="en-US" sz="1000" b="1"/>
        </a:p>
      </dgm:t>
    </dgm:pt>
    <dgm:pt modelId="{7A8470EA-E1B6-4079-B9A6-C3C82AC39901}" type="parTrans" cxnId="{A8FE4DA8-4882-4D58-89FF-2757C9B44131}">
      <dgm:prSet/>
      <dgm:spPr/>
      <dgm:t>
        <a:bodyPr/>
        <a:lstStyle/>
        <a:p>
          <a:endParaRPr lang="en-US" sz="1000" b="1"/>
        </a:p>
      </dgm:t>
    </dgm:pt>
    <dgm:pt modelId="{F450CE3C-5698-4176-A257-A2C9E60E5E38}" type="pres">
      <dgm:prSet presAssocID="{73243807-169A-4AE8-8FC0-DE5797F152E2}" presName="Name0" presStyleCnt="0">
        <dgm:presLayoutVars>
          <dgm:orgChart val="1"/>
          <dgm:chPref val="1"/>
          <dgm:dir/>
          <dgm:animOne val="branch"/>
          <dgm:animLvl val="lvl"/>
          <dgm:resizeHandles/>
        </dgm:presLayoutVars>
      </dgm:prSet>
      <dgm:spPr/>
    </dgm:pt>
    <dgm:pt modelId="{8E7072B0-DB2E-4F24-83A1-130E57D84C72}" type="pres">
      <dgm:prSet presAssocID="{333351D2-C7DE-455C-8C90-92DE4E0A8602}" presName="hierRoot1" presStyleCnt="0">
        <dgm:presLayoutVars>
          <dgm:hierBranch val="init"/>
        </dgm:presLayoutVars>
      </dgm:prSet>
      <dgm:spPr/>
    </dgm:pt>
    <dgm:pt modelId="{39CE4995-53D6-4679-9BC7-65DFF0CFE13B}" type="pres">
      <dgm:prSet presAssocID="{333351D2-C7DE-455C-8C90-92DE4E0A8602}" presName="rootComposite1" presStyleCnt="0"/>
      <dgm:spPr/>
    </dgm:pt>
    <dgm:pt modelId="{CAB135D3-0BE3-4F3A-AA90-C06F001E7992}" type="pres">
      <dgm:prSet presAssocID="{333351D2-C7DE-455C-8C90-92DE4E0A8602}" presName="rootText1" presStyleLbl="alignAcc1" presStyleIdx="0" presStyleCnt="0" custScaleX="228863" custLinFactY="-100000" custLinFactNeighborX="27097" custLinFactNeighborY="-168477">
        <dgm:presLayoutVars>
          <dgm:chPref val="3"/>
        </dgm:presLayoutVars>
      </dgm:prSet>
      <dgm:spPr/>
    </dgm:pt>
    <dgm:pt modelId="{CBA15CFA-BE87-480B-9EB0-35B340174C31}" type="pres">
      <dgm:prSet presAssocID="{333351D2-C7DE-455C-8C90-92DE4E0A8602}" presName="topArc1" presStyleLbl="parChTrans1D1" presStyleIdx="0" presStyleCnt="14"/>
      <dgm:spPr/>
    </dgm:pt>
    <dgm:pt modelId="{183173A3-CB7E-40E7-B691-9BAF457485D8}" type="pres">
      <dgm:prSet presAssocID="{333351D2-C7DE-455C-8C90-92DE4E0A8602}" presName="bottomArc1" presStyleLbl="parChTrans1D1" presStyleIdx="1" presStyleCnt="14"/>
      <dgm:spPr/>
    </dgm:pt>
    <dgm:pt modelId="{411585C2-F338-4DF9-B97F-9CD45C9C31D8}" type="pres">
      <dgm:prSet presAssocID="{333351D2-C7DE-455C-8C90-92DE4E0A8602}" presName="topConnNode1" presStyleLbl="node1" presStyleIdx="0" presStyleCnt="0"/>
      <dgm:spPr/>
    </dgm:pt>
    <dgm:pt modelId="{3F76F2F2-CD3A-4936-B1A5-84B8C765476C}" type="pres">
      <dgm:prSet presAssocID="{333351D2-C7DE-455C-8C90-92DE4E0A8602}" presName="hierChild2" presStyleCnt="0"/>
      <dgm:spPr/>
    </dgm:pt>
    <dgm:pt modelId="{E0A0DFA8-86DF-4906-9D85-B416A335DAF5}" type="pres">
      <dgm:prSet presAssocID="{333351D2-C7DE-455C-8C90-92DE4E0A8602}" presName="hierChild3" presStyleCnt="0"/>
      <dgm:spPr/>
    </dgm:pt>
    <dgm:pt modelId="{540ADDD5-7266-4FA2-A3A0-1432A2A343AE}" type="pres">
      <dgm:prSet presAssocID="{CD00D4A5-D11B-42BA-8E31-A298EE8B7A61}" presName="Name101" presStyleLbl="parChTrans1D2" presStyleIdx="0" presStyleCnt="6"/>
      <dgm:spPr/>
    </dgm:pt>
    <dgm:pt modelId="{E879FCBA-2801-45D9-97F7-189CA8CD2A55}" type="pres">
      <dgm:prSet presAssocID="{BD36C393-C2B6-47AA-836E-93243BD014B7}" presName="hierRoot3" presStyleCnt="0">
        <dgm:presLayoutVars>
          <dgm:hierBranch val="init"/>
        </dgm:presLayoutVars>
      </dgm:prSet>
      <dgm:spPr/>
    </dgm:pt>
    <dgm:pt modelId="{3D21A085-0D46-431F-AF65-6AB5E7CDAAC2}" type="pres">
      <dgm:prSet presAssocID="{BD36C393-C2B6-47AA-836E-93243BD014B7}" presName="rootComposite3" presStyleCnt="0"/>
      <dgm:spPr/>
    </dgm:pt>
    <dgm:pt modelId="{473FAFDE-DAAF-4B53-B55D-E6113A156793}" type="pres">
      <dgm:prSet presAssocID="{BD36C393-C2B6-47AA-836E-93243BD014B7}" presName="rootText3" presStyleLbl="alignAcc1" presStyleIdx="0" presStyleCnt="0" custLinFactNeighborX="14475" custLinFactNeighborY="-2593">
        <dgm:presLayoutVars>
          <dgm:chPref val="3"/>
        </dgm:presLayoutVars>
      </dgm:prSet>
      <dgm:spPr/>
    </dgm:pt>
    <dgm:pt modelId="{16F66FFF-4725-4015-A6CB-81DB205C612C}" type="pres">
      <dgm:prSet presAssocID="{BD36C393-C2B6-47AA-836E-93243BD014B7}" presName="topArc3" presStyleLbl="parChTrans1D1" presStyleIdx="2" presStyleCnt="14"/>
      <dgm:spPr/>
    </dgm:pt>
    <dgm:pt modelId="{0341357A-CCE5-433E-B311-7BF078E7BBB4}" type="pres">
      <dgm:prSet presAssocID="{BD36C393-C2B6-47AA-836E-93243BD014B7}" presName="bottomArc3" presStyleLbl="parChTrans1D1" presStyleIdx="3" presStyleCnt="14"/>
      <dgm:spPr/>
    </dgm:pt>
    <dgm:pt modelId="{B757BD5B-3915-44F7-AB05-AD5E6E77EA73}" type="pres">
      <dgm:prSet presAssocID="{BD36C393-C2B6-47AA-836E-93243BD014B7}" presName="topConnNode3" presStyleLbl="asst1" presStyleIdx="0" presStyleCnt="0"/>
      <dgm:spPr/>
    </dgm:pt>
    <dgm:pt modelId="{0C090456-0982-4D4F-8CBC-F53630C99274}" type="pres">
      <dgm:prSet presAssocID="{BD36C393-C2B6-47AA-836E-93243BD014B7}" presName="hierChild6" presStyleCnt="0"/>
      <dgm:spPr/>
    </dgm:pt>
    <dgm:pt modelId="{282A06BA-1064-43A3-8E5E-4F0978D4EA95}" type="pres">
      <dgm:prSet presAssocID="{BD36C393-C2B6-47AA-836E-93243BD014B7}" presName="hierChild7" presStyleCnt="0"/>
      <dgm:spPr/>
    </dgm:pt>
    <dgm:pt modelId="{A0E86D06-A3F7-4709-8A9C-4D44DBF44CF7}" type="pres">
      <dgm:prSet presAssocID="{F3419DFE-2623-4864-92D1-66D2ED721B99}" presName="Name101" presStyleLbl="parChTrans1D2" presStyleIdx="1" presStyleCnt="6"/>
      <dgm:spPr/>
    </dgm:pt>
    <dgm:pt modelId="{4922E2FD-5329-408A-B5EE-54991623EAA2}" type="pres">
      <dgm:prSet presAssocID="{0744E35B-FD72-46EC-9CEC-A26DC268F0C4}" presName="hierRoot3" presStyleCnt="0">
        <dgm:presLayoutVars>
          <dgm:hierBranch val="init"/>
        </dgm:presLayoutVars>
      </dgm:prSet>
      <dgm:spPr/>
    </dgm:pt>
    <dgm:pt modelId="{9F712AF5-6E3B-4759-B214-90A9CA04CEA6}" type="pres">
      <dgm:prSet presAssocID="{0744E35B-FD72-46EC-9CEC-A26DC268F0C4}" presName="rootComposite3" presStyleCnt="0"/>
      <dgm:spPr/>
    </dgm:pt>
    <dgm:pt modelId="{5E2A218B-AF19-4B26-9C3E-28B9FD73D26E}" type="pres">
      <dgm:prSet presAssocID="{0744E35B-FD72-46EC-9CEC-A26DC268F0C4}" presName="rootText3" presStyleLbl="alignAcc1" presStyleIdx="0" presStyleCnt="0" custLinFactNeighborX="37867" custLinFactNeighborY="-27">
        <dgm:presLayoutVars>
          <dgm:chPref val="3"/>
        </dgm:presLayoutVars>
      </dgm:prSet>
      <dgm:spPr/>
    </dgm:pt>
    <dgm:pt modelId="{DCD2A7DD-1628-4388-B259-B1426FA1CFC9}" type="pres">
      <dgm:prSet presAssocID="{0744E35B-FD72-46EC-9CEC-A26DC268F0C4}" presName="topArc3" presStyleLbl="parChTrans1D1" presStyleIdx="4" presStyleCnt="14"/>
      <dgm:spPr/>
    </dgm:pt>
    <dgm:pt modelId="{426ED91C-0CC2-437B-8962-CED9630A11AC}" type="pres">
      <dgm:prSet presAssocID="{0744E35B-FD72-46EC-9CEC-A26DC268F0C4}" presName="bottomArc3" presStyleLbl="parChTrans1D1" presStyleIdx="5" presStyleCnt="14"/>
      <dgm:spPr/>
    </dgm:pt>
    <dgm:pt modelId="{8204BC08-76BF-4282-81A5-056470317805}" type="pres">
      <dgm:prSet presAssocID="{0744E35B-FD72-46EC-9CEC-A26DC268F0C4}" presName="topConnNode3" presStyleLbl="asst1" presStyleIdx="0" presStyleCnt="0"/>
      <dgm:spPr/>
    </dgm:pt>
    <dgm:pt modelId="{BDB6473D-11B4-49D3-B912-4D9960B1D6DF}" type="pres">
      <dgm:prSet presAssocID="{0744E35B-FD72-46EC-9CEC-A26DC268F0C4}" presName="hierChild6" presStyleCnt="0"/>
      <dgm:spPr/>
    </dgm:pt>
    <dgm:pt modelId="{89FF5E2D-02F8-47EC-A510-09679E5E078D}" type="pres">
      <dgm:prSet presAssocID="{0744E35B-FD72-46EC-9CEC-A26DC268F0C4}" presName="hierChild7" presStyleCnt="0"/>
      <dgm:spPr/>
    </dgm:pt>
    <dgm:pt modelId="{823839AC-C0F3-4B2A-A215-911EEAE5B217}" type="pres">
      <dgm:prSet presAssocID="{2DC05B9E-6B18-4E02-BABC-4C8376CA3AA0}" presName="Name101" presStyleLbl="parChTrans1D2" presStyleIdx="2" presStyleCnt="6"/>
      <dgm:spPr/>
    </dgm:pt>
    <dgm:pt modelId="{87E80843-AF39-4110-8F77-27BCB492F1B9}" type="pres">
      <dgm:prSet presAssocID="{98292CFA-F98C-462B-883B-C84F6DEFD95A}" presName="hierRoot3" presStyleCnt="0">
        <dgm:presLayoutVars>
          <dgm:hierBranch val="init"/>
        </dgm:presLayoutVars>
      </dgm:prSet>
      <dgm:spPr/>
    </dgm:pt>
    <dgm:pt modelId="{7584DE1A-96A6-4DB8-99DA-2E47CC68692F}" type="pres">
      <dgm:prSet presAssocID="{98292CFA-F98C-462B-883B-C84F6DEFD95A}" presName="rootComposite3" presStyleCnt="0"/>
      <dgm:spPr/>
    </dgm:pt>
    <dgm:pt modelId="{A3DB3751-D8AE-4F64-95DE-54C32CC4A8F1}" type="pres">
      <dgm:prSet presAssocID="{98292CFA-F98C-462B-883B-C84F6DEFD95A}" presName="rootText3" presStyleLbl="alignAcc1" presStyleIdx="0" presStyleCnt="0" custLinFactNeighborX="14475" custLinFactNeighborY="-2593">
        <dgm:presLayoutVars>
          <dgm:chPref val="3"/>
        </dgm:presLayoutVars>
      </dgm:prSet>
      <dgm:spPr/>
    </dgm:pt>
    <dgm:pt modelId="{A3CEFF5F-EE1B-45AB-8948-1001CEDC5CCD}" type="pres">
      <dgm:prSet presAssocID="{98292CFA-F98C-462B-883B-C84F6DEFD95A}" presName="topArc3" presStyleLbl="parChTrans1D1" presStyleIdx="6" presStyleCnt="14"/>
      <dgm:spPr/>
    </dgm:pt>
    <dgm:pt modelId="{AD458E84-8767-4475-84A5-B52696301257}" type="pres">
      <dgm:prSet presAssocID="{98292CFA-F98C-462B-883B-C84F6DEFD95A}" presName="bottomArc3" presStyleLbl="parChTrans1D1" presStyleIdx="7" presStyleCnt="14"/>
      <dgm:spPr/>
    </dgm:pt>
    <dgm:pt modelId="{3E3AD10B-8992-4DB6-91D8-DE283CB73339}" type="pres">
      <dgm:prSet presAssocID="{98292CFA-F98C-462B-883B-C84F6DEFD95A}" presName="topConnNode3" presStyleLbl="asst1" presStyleIdx="0" presStyleCnt="0"/>
      <dgm:spPr/>
    </dgm:pt>
    <dgm:pt modelId="{07039BB4-84B4-4DD5-A33E-FB173E4240ED}" type="pres">
      <dgm:prSet presAssocID="{98292CFA-F98C-462B-883B-C84F6DEFD95A}" presName="hierChild6" presStyleCnt="0"/>
      <dgm:spPr/>
    </dgm:pt>
    <dgm:pt modelId="{BB0292BA-02FB-40CF-BED1-14F1663492FE}" type="pres">
      <dgm:prSet presAssocID="{98292CFA-F98C-462B-883B-C84F6DEFD95A}" presName="hierChild7" presStyleCnt="0"/>
      <dgm:spPr/>
    </dgm:pt>
    <dgm:pt modelId="{F6F75026-B492-447C-97A2-96820DFEBB84}" type="pres">
      <dgm:prSet presAssocID="{E97F3190-F492-4358-9D1B-98F7470DE474}" presName="Name101" presStyleLbl="parChTrans1D2" presStyleIdx="3" presStyleCnt="6"/>
      <dgm:spPr/>
    </dgm:pt>
    <dgm:pt modelId="{8C1F96EF-B9A8-43C8-A177-A161FFCBCD5E}" type="pres">
      <dgm:prSet presAssocID="{976ED11A-6C84-4C41-B6F7-890956AA9B1F}" presName="hierRoot3" presStyleCnt="0">
        <dgm:presLayoutVars>
          <dgm:hierBranch val="init"/>
        </dgm:presLayoutVars>
      </dgm:prSet>
      <dgm:spPr/>
    </dgm:pt>
    <dgm:pt modelId="{2208A7AC-2970-48ED-9662-EF7FF32873FA}" type="pres">
      <dgm:prSet presAssocID="{976ED11A-6C84-4C41-B6F7-890956AA9B1F}" presName="rootComposite3" presStyleCnt="0"/>
      <dgm:spPr/>
    </dgm:pt>
    <dgm:pt modelId="{16ADE5F8-CB54-4262-B47A-46D46B2F3EBC}" type="pres">
      <dgm:prSet presAssocID="{976ED11A-6C84-4C41-B6F7-890956AA9B1F}" presName="rootText3" presStyleLbl="alignAcc1" presStyleIdx="0" presStyleCnt="0" custLinFactNeighborX="38749" custLinFactNeighborY="-332">
        <dgm:presLayoutVars>
          <dgm:chPref val="3"/>
        </dgm:presLayoutVars>
      </dgm:prSet>
      <dgm:spPr/>
    </dgm:pt>
    <dgm:pt modelId="{AFF509BD-9D1D-4C94-987C-A331343519A3}" type="pres">
      <dgm:prSet presAssocID="{976ED11A-6C84-4C41-B6F7-890956AA9B1F}" presName="topArc3" presStyleLbl="parChTrans1D1" presStyleIdx="8" presStyleCnt="14"/>
      <dgm:spPr/>
    </dgm:pt>
    <dgm:pt modelId="{8758304F-BE3D-4AE4-8A17-76E4CFD0891D}" type="pres">
      <dgm:prSet presAssocID="{976ED11A-6C84-4C41-B6F7-890956AA9B1F}" presName="bottomArc3" presStyleLbl="parChTrans1D1" presStyleIdx="9" presStyleCnt="14"/>
      <dgm:spPr/>
    </dgm:pt>
    <dgm:pt modelId="{9682B83C-708C-49F6-9D5C-79396A6B3F1E}" type="pres">
      <dgm:prSet presAssocID="{976ED11A-6C84-4C41-B6F7-890956AA9B1F}" presName="topConnNode3" presStyleLbl="asst1" presStyleIdx="0" presStyleCnt="0"/>
      <dgm:spPr/>
    </dgm:pt>
    <dgm:pt modelId="{CFAD1B15-5791-4A6B-80C8-2D3FFC5C985C}" type="pres">
      <dgm:prSet presAssocID="{976ED11A-6C84-4C41-B6F7-890956AA9B1F}" presName="hierChild6" presStyleCnt="0"/>
      <dgm:spPr/>
    </dgm:pt>
    <dgm:pt modelId="{49A86350-AB7C-43BF-BD3C-604CC20E9FB2}" type="pres">
      <dgm:prSet presAssocID="{976ED11A-6C84-4C41-B6F7-890956AA9B1F}" presName="hierChild7" presStyleCnt="0"/>
      <dgm:spPr/>
    </dgm:pt>
    <dgm:pt modelId="{7B47C29A-9D13-4B5A-A3A8-E21ECB712FF1}" type="pres">
      <dgm:prSet presAssocID="{434B9738-A42E-440C-94AF-DB94C1FFA8D7}" presName="Name101" presStyleLbl="parChTrans1D2" presStyleIdx="4" presStyleCnt="6"/>
      <dgm:spPr/>
    </dgm:pt>
    <dgm:pt modelId="{5C183F8B-B237-4D49-ADA5-25290CDDABA2}" type="pres">
      <dgm:prSet presAssocID="{F50B3D0E-AA65-474E-8C4A-FF36BD84ED1C}" presName="hierRoot3" presStyleCnt="0">
        <dgm:presLayoutVars>
          <dgm:hierBranch val="init"/>
        </dgm:presLayoutVars>
      </dgm:prSet>
      <dgm:spPr/>
    </dgm:pt>
    <dgm:pt modelId="{BECEA1B8-CFC2-4E31-9FB0-956464E0AA88}" type="pres">
      <dgm:prSet presAssocID="{F50B3D0E-AA65-474E-8C4A-FF36BD84ED1C}" presName="rootComposite3" presStyleCnt="0"/>
      <dgm:spPr/>
    </dgm:pt>
    <dgm:pt modelId="{9E9728F9-50FF-4D7F-8E30-BFD9C9D30030}" type="pres">
      <dgm:prSet presAssocID="{F50B3D0E-AA65-474E-8C4A-FF36BD84ED1C}" presName="rootText3" presStyleLbl="alignAcc1" presStyleIdx="0" presStyleCnt="0" custLinFactNeighborX="14475" custLinFactNeighborY="-2593">
        <dgm:presLayoutVars>
          <dgm:chPref val="3"/>
        </dgm:presLayoutVars>
      </dgm:prSet>
      <dgm:spPr/>
    </dgm:pt>
    <dgm:pt modelId="{C7951CFA-14A4-4638-9C96-5B95F080DA6E}" type="pres">
      <dgm:prSet presAssocID="{F50B3D0E-AA65-474E-8C4A-FF36BD84ED1C}" presName="topArc3" presStyleLbl="parChTrans1D1" presStyleIdx="10" presStyleCnt="14"/>
      <dgm:spPr/>
    </dgm:pt>
    <dgm:pt modelId="{F0986B3D-4357-4F1F-BF0C-C3E1988FA00B}" type="pres">
      <dgm:prSet presAssocID="{F50B3D0E-AA65-474E-8C4A-FF36BD84ED1C}" presName="bottomArc3" presStyleLbl="parChTrans1D1" presStyleIdx="11" presStyleCnt="14"/>
      <dgm:spPr/>
    </dgm:pt>
    <dgm:pt modelId="{97AC553C-D691-4AAA-A2B1-7266F5D2FE75}" type="pres">
      <dgm:prSet presAssocID="{F50B3D0E-AA65-474E-8C4A-FF36BD84ED1C}" presName="topConnNode3" presStyleLbl="asst1" presStyleIdx="0" presStyleCnt="0"/>
      <dgm:spPr/>
    </dgm:pt>
    <dgm:pt modelId="{BBCCA60A-7A18-41EB-AF04-2BD3A2D7C0FB}" type="pres">
      <dgm:prSet presAssocID="{F50B3D0E-AA65-474E-8C4A-FF36BD84ED1C}" presName="hierChild6" presStyleCnt="0"/>
      <dgm:spPr/>
    </dgm:pt>
    <dgm:pt modelId="{5A17D65D-293E-4F04-8CA8-E3102FE532A3}" type="pres">
      <dgm:prSet presAssocID="{F50B3D0E-AA65-474E-8C4A-FF36BD84ED1C}" presName="hierChild7" presStyleCnt="0"/>
      <dgm:spPr/>
    </dgm:pt>
    <dgm:pt modelId="{D47EA5D2-79BD-43AF-B030-79A75ED32C70}" type="pres">
      <dgm:prSet presAssocID="{0A002493-4DDC-4FCA-B30A-F6C926DB7BE0}" presName="Name101" presStyleLbl="parChTrans1D2" presStyleIdx="5" presStyleCnt="6"/>
      <dgm:spPr/>
    </dgm:pt>
    <dgm:pt modelId="{ADC61226-B719-407B-9B17-F1603D3AF0A3}" type="pres">
      <dgm:prSet presAssocID="{C7BB80D3-4650-42BF-B9D3-12BAAE34DAEA}" presName="hierRoot3" presStyleCnt="0">
        <dgm:presLayoutVars>
          <dgm:hierBranch val="init"/>
        </dgm:presLayoutVars>
      </dgm:prSet>
      <dgm:spPr/>
    </dgm:pt>
    <dgm:pt modelId="{05086743-9909-4D86-8C18-685187690167}" type="pres">
      <dgm:prSet presAssocID="{C7BB80D3-4650-42BF-B9D3-12BAAE34DAEA}" presName="rootComposite3" presStyleCnt="0"/>
      <dgm:spPr/>
    </dgm:pt>
    <dgm:pt modelId="{D42B6C50-9517-4A68-A35C-06B96BF45C11}" type="pres">
      <dgm:prSet presAssocID="{C7BB80D3-4650-42BF-B9D3-12BAAE34DAEA}" presName="rootText3" presStyleLbl="alignAcc1" presStyleIdx="0" presStyleCnt="0" custLinFactNeighborX="36621" custLinFactNeighborY="1582">
        <dgm:presLayoutVars>
          <dgm:chPref val="3"/>
        </dgm:presLayoutVars>
      </dgm:prSet>
      <dgm:spPr/>
    </dgm:pt>
    <dgm:pt modelId="{83B896E8-4CDC-40EE-BD25-B36D364A5C6E}" type="pres">
      <dgm:prSet presAssocID="{C7BB80D3-4650-42BF-B9D3-12BAAE34DAEA}" presName="topArc3" presStyleLbl="parChTrans1D1" presStyleIdx="12" presStyleCnt="14"/>
      <dgm:spPr/>
    </dgm:pt>
    <dgm:pt modelId="{A15FCB77-20B7-46A2-BFCF-1511CAD1A485}" type="pres">
      <dgm:prSet presAssocID="{C7BB80D3-4650-42BF-B9D3-12BAAE34DAEA}" presName="bottomArc3" presStyleLbl="parChTrans1D1" presStyleIdx="13" presStyleCnt="14"/>
      <dgm:spPr/>
    </dgm:pt>
    <dgm:pt modelId="{2DE44961-0D28-4527-87C5-B48CE2EA9F20}" type="pres">
      <dgm:prSet presAssocID="{C7BB80D3-4650-42BF-B9D3-12BAAE34DAEA}" presName="topConnNode3" presStyleLbl="asst1" presStyleIdx="0" presStyleCnt="0"/>
      <dgm:spPr/>
    </dgm:pt>
    <dgm:pt modelId="{FB3E767F-E4D4-46B4-9DC3-6E2EB174D939}" type="pres">
      <dgm:prSet presAssocID="{C7BB80D3-4650-42BF-B9D3-12BAAE34DAEA}" presName="hierChild6" presStyleCnt="0"/>
      <dgm:spPr/>
    </dgm:pt>
    <dgm:pt modelId="{7737BF44-AA4C-4369-8DD1-B87B4974EBF6}" type="pres">
      <dgm:prSet presAssocID="{C7BB80D3-4650-42BF-B9D3-12BAAE34DAEA}" presName="hierChild7" presStyleCnt="0"/>
      <dgm:spPr/>
    </dgm:pt>
  </dgm:ptLst>
  <dgm:cxnLst>
    <dgm:cxn modelId="{F12EBE07-10E1-49EC-9629-1EF5787B2720}" srcId="{333351D2-C7DE-455C-8C90-92DE4E0A8602}" destId="{C7BB80D3-4650-42BF-B9D3-12BAAE34DAEA}" srcOrd="5" destOrd="0" parTransId="{0A002493-4DDC-4FCA-B30A-F6C926DB7BE0}" sibTransId="{D1245C41-7252-4EA6-BFBB-ED9AD548BC2E}"/>
    <dgm:cxn modelId="{A7DDA30A-D40A-476E-BC4D-EC224F05EA45}" type="presOf" srcId="{0744E35B-FD72-46EC-9CEC-A26DC268F0C4}" destId="{5E2A218B-AF19-4B26-9C3E-28B9FD73D26E}" srcOrd="0" destOrd="0" presId="urn:microsoft.com/office/officeart/2008/layout/HalfCircleOrganizationChart"/>
    <dgm:cxn modelId="{60855E0D-85C5-4694-BB4F-5949ADD60001}" type="presOf" srcId="{F50B3D0E-AA65-474E-8C4A-FF36BD84ED1C}" destId="{9E9728F9-50FF-4D7F-8E30-BFD9C9D30030}" srcOrd="0" destOrd="0" presId="urn:microsoft.com/office/officeart/2008/layout/HalfCircleOrganizationChart"/>
    <dgm:cxn modelId="{5D1A0A13-06D3-444E-8BE7-4C22A92E2DE0}" type="presOf" srcId="{BD36C393-C2B6-47AA-836E-93243BD014B7}" destId="{473FAFDE-DAAF-4B53-B55D-E6113A156793}" srcOrd="0" destOrd="0" presId="urn:microsoft.com/office/officeart/2008/layout/HalfCircleOrganizationChart"/>
    <dgm:cxn modelId="{0CDC6715-70A3-4D4C-A3C9-5D5EBCADF872}" type="presOf" srcId="{73243807-169A-4AE8-8FC0-DE5797F152E2}" destId="{F450CE3C-5698-4176-A257-A2C9E60E5E38}" srcOrd="0" destOrd="0" presId="urn:microsoft.com/office/officeart/2008/layout/HalfCircleOrganizationChart"/>
    <dgm:cxn modelId="{B2FAE218-6BFF-4B1E-9CBA-ABC5AAF59C19}" type="presOf" srcId="{98292CFA-F98C-462B-883B-C84F6DEFD95A}" destId="{A3DB3751-D8AE-4F64-95DE-54C32CC4A8F1}" srcOrd="0" destOrd="0" presId="urn:microsoft.com/office/officeart/2008/layout/HalfCircleOrganizationChart"/>
    <dgm:cxn modelId="{F4D3CD19-C609-40B7-8F12-EB245DAEC27A}" srcId="{333351D2-C7DE-455C-8C90-92DE4E0A8602}" destId="{0744E35B-FD72-46EC-9CEC-A26DC268F0C4}" srcOrd="1" destOrd="0" parTransId="{F3419DFE-2623-4864-92D1-66D2ED721B99}" sibTransId="{31BBF6ED-1AB8-49F5-A115-E44D8E1F3A7C}"/>
    <dgm:cxn modelId="{A96D251A-CE70-4E2C-A571-75AA89243AE1}" type="presOf" srcId="{333351D2-C7DE-455C-8C90-92DE4E0A8602}" destId="{CAB135D3-0BE3-4F3A-AA90-C06F001E7992}" srcOrd="0" destOrd="0" presId="urn:microsoft.com/office/officeart/2008/layout/HalfCircleOrganizationChart"/>
    <dgm:cxn modelId="{69332F1F-0AD5-4BD5-B19E-75013FE073DD}" srcId="{333351D2-C7DE-455C-8C90-92DE4E0A8602}" destId="{BD36C393-C2B6-47AA-836E-93243BD014B7}" srcOrd="0" destOrd="0" parTransId="{CD00D4A5-D11B-42BA-8E31-A298EE8B7A61}" sibTransId="{9755732C-1CDD-4519-AA5D-A973CEF0239B}"/>
    <dgm:cxn modelId="{33842026-43A9-411C-A2D8-9212E669C72A}" type="presOf" srcId="{C7BB80D3-4650-42BF-B9D3-12BAAE34DAEA}" destId="{D42B6C50-9517-4A68-A35C-06B96BF45C11}" srcOrd="0" destOrd="0" presId="urn:microsoft.com/office/officeart/2008/layout/HalfCircleOrganizationChart"/>
    <dgm:cxn modelId="{45AC002A-41CF-4ADB-BF9E-D495C763A536}" type="presOf" srcId="{F50B3D0E-AA65-474E-8C4A-FF36BD84ED1C}" destId="{97AC553C-D691-4AAA-A2B1-7266F5D2FE75}" srcOrd="1" destOrd="0" presId="urn:microsoft.com/office/officeart/2008/layout/HalfCircleOrganizationChart"/>
    <dgm:cxn modelId="{B9068E5C-C31A-4DA6-A8D3-472E5BE20862}" type="presOf" srcId="{F3419DFE-2623-4864-92D1-66D2ED721B99}" destId="{A0E86D06-A3F7-4709-8A9C-4D44DBF44CF7}" srcOrd="0" destOrd="0" presId="urn:microsoft.com/office/officeart/2008/layout/HalfCircleOrganizationChart"/>
    <dgm:cxn modelId="{15573366-97A7-4326-A374-82B3876D23FD}" type="presOf" srcId="{976ED11A-6C84-4C41-B6F7-890956AA9B1F}" destId="{16ADE5F8-CB54-4262-B47A-46D46B2F3EBC}" srcOrd="0" destOrd="0" presId="urn:microsoft.com/office/officeart/2008/layout/HalfCircleOrganizationChart"/>
    <dgm:cxn modelId="{FCDE9446-47E9-431C-A846-AE893339678A}" srcId="{333351D2-C7DE-455C-8C90-92DE4E0A8602}" destId="{976ED11A-6C84-4C41-B6F7-890956AA9B1F}" srcOrd="3" destOrd="0" parTransId="{E97F3190-F492-4358-9D1B-98F7470DE474}" sibTransId="{B60CF4A7-1971-46BB-A132-397064D487BB}"/>
    <dgm:cxn modelId="{2D5A216C-83CB-49C6-9910-79255FAEFB58}" type="presOf" srcId="{C7BB80D3-4650-42BF-B9D3-12BAAE34DAEA}" destId="{2DE44961-0D28-4527-87C5-B48CE2EA9F20}" srcOrd="1" destOrd="0" presId="urn:microsoft.com/office/officeart/2008/layout/HalfCircleOrganizationChart"/>
    <dgm:cxn modelId="{80CC226C-6CE6-40C1-B7C7-960C0226E71C}" type="presOf" srcId="{BD36C393-C2B6-47AA-836E-93243BD014B7}" destId="{B757BD5B-3915-44F7-AB05-AD5E6E77EA73}" srcOrd="1" destOrd="0" presId="urn:microsoft.com/office/officeart/2008/layout/HalfCircleOrganizationChart"/>
    <dgm:cxn modelId="{E6314297-CE49-4467-AD59-1E7F33C5435A}" type="presOf" srcId="{2DC05B9E-6B18-4E02-BABC-4C8376CA3AA0}" destId="{823839AC-C0F3-4B2A-A215-911EEAE5B217}" srcOrd="0" destOrd="0" presId="urn:microsoft.com/office/officeart/2008/layout/HalfCircleOrganizationChart"/>
    <dgm:cxn modelId="{B7CD96A2-34D8-4BC9-BE92-625019A739BD}" type="presOf" srcId="{CD00D4A5-D11B-42BA-8E31-A298EE8B7A61}" destId="{540ADDD5-7266-4FA2-A3A0-1432A2A343AE}" srcOrd="0" destOrd="0" presId="urn:microsoft.com/office/officeart/2008/layout/HalfCircleOrganizationChart"/>
    <dgm:cxn modelId="{327AE2A5-BFD0-4554-A60B-9966E3FA87F1}" srcId="{333351D2-C7DE-455C-8C90-92DE4E0A8602}" destId="{98292CFA-F98C-462B-883B-C84F6DEFD95A}" srcOrd="2" destOrd="0" parTransId="{2DC05B9E-6B18-4E02-BABC-4C8376CA3AA0}" sibTransId="{18425246-F21B-48F1-8995-3AB1591FA703}"/>
    <dgm:cxn modelId="{0BA0EBA5-0809-426F-BBEC-4B230663D912}" type="presOf" srcId="{E97F3190-F492-4358-9D1B-98F7470DE474}" destId="{F6F75026-B492-447C-97A2-96820DFEBB84}" srcOrd="0" destOrd="0" presId="urn:microsoft.com/office/officeart/2008/layout/HalfCircleOrganizationChart"/>
    <dgm:cxn modelId="{A8FE4DA8-4882-4D58-89FF-2757C9B44131}" srcId="{73243807-169A-4AE8-8FC0-DE5797F152E2}" destId="{333351D2-C7DE-455C-8C90-92DE4E0A8602}" srcOrd="0" destOrd="0" parTransId="{7A8470EA-E1B6-4079-B9A6-C3C82AC39901}" sibTransId="{EF76CD78-F7B2-4498-A3D1-CDE7D5DFF184}"/>
    <dgm:cxn modelId="{BBB8E6AB-42BB-4042-A12D-BDF235AFFE59}" type="presOf" srcId="{0744E35B-FD72-46EC-9CEC-A26DC268F0C4}" destId="{8204BC08-76BF-4282-81A5-056470317805}" srcOrd="1" destOrd="0" presId="urn:microsoft.com/office/officeart/2008/layout/HalfCircleOrganizationChart"/>
    <dgm:cxn modelId="{1F9886AD-7D48-480F-9A2B-A3FA620AB66B}" type="presOf" srcId="{0A002493-4DDC-4FCA-B30A-F6C926DB7BE0}" destId="{D47EA5D2-79BD-43AF-B030-79A75ED32C70}" srcOrd="0" destOrd="0" presId="urn:microsoft.com/office/officeart/2008/layout/HalfCircleOrganizationChart"/>
    <dgm:cxn modelId="{6D1F1FB1-74F9-47FB-8A8F-9E651B21F28F}" type="presOf" srcId="{98292CFA-F98C-462B-883B-C84F6DEFD95A}" destId="{3E3AD10B-8992-4DB6-91D8-DE283CB73339}" srcOrd="1" destOrd="0" presId="urn:microsoft.com/office/officeart/2008/layout/HalfCircleOrganizationChart"/>
    <dgm:cxn modelId="{F14FCDBA-B8D5-4737-8011-7FA3952810B4}" type="presOf" srcId="{976ED11A-6C84-4C41-B6F7-890956AA9B1F}" destId="{9682B83C-708C-49F6-9D5C-79396A6B3F1E}" srcOrd="1" destOrd="0" presId="urn:microsoft.com/office/officeart/2008/layout/HalfCircleOrganizationChart"/>
    <dgm:cxn modelId="{D7CD0DBE-4047-4EB2-877D-AD7AE0AC67CC}" type="presOf" srcId="{434B9738-A42E-440C-94AF-DB94C1FFA8D7}" destId="{7B47C29A-9D13-4B5A-A3A8-E21ECB712FF1}" srcOrd="0" destOrd="0" presId="urn:microsoft.com/office/officeart/2008/layout/HalfCircleOrganizationChart"/>
    <dgm:cxn modelId="{6768E7DF-723C-4D85-B17A-F9C774146DD4}" type="presOf" srcId="{333351D2-C7DE-455C-8C90-92DE4E0A8602}" destId="{411585C2-F338-4DF9-B97F-9CD45C9C31D8}" srcOrd="1" destOrd="0" presId="urn:microsoft.com/office/officeart/2008/layout/HalfCircleOrganizationChart"/>
    <dgm:cxn modelId="{42CB2BEA-F560-4DD8-8747-CFA7A90E14AF}" srcId="{333351D2-C7DE-455C-8C90-92DE4E0A8602}" destId="{F50B3D0E-AA65-474E-8C4A-FF36BD84ED1C}" srcOrd="4" destOrd="0" parTransId="{434B9738-A42E-440C-94AF-DB94C1FFA8D7}" sibTransId="{5D59CF28-7416-4A6A-AFCE-D098AD136A45}"/>
    <dgm:cxn modelId="{B04678D6-91B1-4366-8D9F-582CF6914331}" type="presParOf" srcId="{F450CE3C-5698-4176-A257-A2C9E60E5E38}" destId="{8E7072B0-DB2E-4F24-83A1-130E57D84C72}" srcOrd="0" destOrd="0" presId="urn:microsoft.com/office/officeart/2008/layout/HalfCircleOrganizationChart"/>
    <dgm:cxn modelId="{01EE6C1B-8C5D-4148-BFC6-2BF6A458E6EB}" type="presParOf" srcId="{8E7072B0-DB2E-4F24-83A1-130E57D84C72}" destId="{39CE4995-53D6-4679-9BC7-65DFF0CFE13B}" srcOrd="0" destOrd="0" presId="urn:microsoft.com/office/officeart/2008/layout/HalfCircleOrganizationChart"/>
    <dgm:cxn modelId="{D87C0231-3A96-426B-B854-E911A6469D53}" type="presParOf" srcId="{39CE4995-53D6-4679-9BC7-65DFF0CFE13B}" destId="{CAB135D3-0BE3-4F3A-AA90-C06F001E7992}" srcOrd="0" destOrd="0" presId="urn:microsoft.com/office/officeart/2008/layout/HalfCircleOrganizationChart"/>
    <dgm:cxn modelId="{6DD80175-5250-4EA7-9868-71CFCDD6CE01}" type="presParOf" srcId="{39CE4995-53D6-4679-9BC7-65DFF0CFE13B}" destId="{CBA15CFA-BE87-480B-9EB0-35B340174C31}" srcOrd="1" destOrd="0" presId="urn:microsoft.com/office/officeart/2008/layout/HalfCircleOrganizationChart"/>
    <dgm:cxn modelId="{5377C3EE-567A-4924-96F7-A7FAA9E39A60}" type="presParOf" srcId="{39CE4995-53D6-4679-9BC7-65DFF0CFE13B}" destId="{183173A3-CB7E-40E7-B691-9BAF457485D8}" srcOrd="2" destOrd="0" presId="urn:microsoft.com/office/officeart/2008/layout/HalfCircleOrganizationChart"/>
    <dgm:cxn modelId="{BDA7402C-45DC-4737-98DE-09080539388E}" type="presParOf" srcId="{39CE4995-53D6-4679-9BC7-65DFF0CFE13B}" destId="{411585C2-F338-4DF9-B97F-9CD45C9C31D8}" srcOrd="3" destOrd="0" presId="urn:microsoft.com/office/officeart/2008/layout/HalfCircleOrganizationChart"/>
    <dgm:cxn modelId="{9337B972-5514-4F70-BE02-42E59008D9AE}" type="presParOf" srcId="{8E7072B0-DB2E-4F24-83A1-130E57D84C72}" destId="{3F76F2F2-CD3A-4936-B1A5-84B8C765476C}" srcOrd="1" destOrd="0" presId="urn:microsoft.com/office/officeart/2008/layout/HalfCircleOrganizationChart"/>
    <dgm:cxn modelId="{90BD8F2B-12E4-4409-908D-E9DCE266937D}" type="presParOf" srcId="{8E7072B0-DB2E-4F24-83A1-130E57D84C72}" destId="{E0A0DFA8-86DF-4906-9D85-B416A335DAF5}" srcOrd="2" destOrd="0" presId="urn:microsoft.com/office/officeart/2008/layout/HalfCircleOrganizationChart"/>
    <dgm:cxn modelId="{44D5EEB5-E3A3-4933-92E1-E883F628337A}" type="presParOf" srcId="{E0A0DFA8-86DF-4906-9D85-B416A335DAF5}" destId="{540ADDD5-7266-4FA2-A3A0-1432A2A343AE}" srcOrd="0" destOrd="0" presId="urn:microsoft.com/office/officeart/2008/layout/HalfCircleOrganizationChart"/>
    <dgm:cxn modelId="{1CC13CA2-30A6-4B21-A507-1298B2236D39}" type="presParOf" srcId="{E0A0DFA8-86DF-4906-9D85-B416A335DAF5}" destId="{E879FCBA-2801-45D9-97F7-189CA8CD2A55}" srcOrd="1" destOrd="0" presId="urn:microsoft.com/office/officeart/2008/layout/HalfCircleOrganizationChart"/>
    <dgm:cxn modelId="{2CDD5DF8-C953-4531-8FDB-B97CA6C97DDE}" type="presParOf" srcId="{E879FCBA-2801-45D9-97F7-189CA8CD2A55}" destId="{3D21A085-0D46-431F-AF65-6AB5E7CDAAC2}" srcOrd="0" destOrd="0" presId="urn:microsoft.com/office/officeart/2008/layout/HalfCircleOrganizationChart"/>
    <dgm:cxn modelId="{D23C08E7-B220-44A2-9BC7-A266CA7DA4C5}" type="presParOf" srcId="{3D21A085-0D46-431F-AF65-6AB5E7CDAAC2}" destId="{473FAFDE-DAAF-4B53-B55D-E6113A156793}" srcOrd="0" destOrd="0" presId="urn:microsoft.com/office/officeart/2008/layout/HalfCircleOrganizationChart"/>
    <dgm:cxn modelId="{95BE14A9-C5A4-48BA-9A6B-40EDA7E3AD06}" type="presParOf" srcId="{3D21A085-0D46-431F-AF65-6AB5E7CDAAC2}" destId="{16F66FFF-4725-4015-A6CB-81DB205C612C}" srcOrd="1" destOrd="0" presId="urn:microsoft.com/office/officeart/2008/layout/HalfCircleOrganizationChart"/>
    <dgm:cxn modelId="{97513CA7-8C43-4FD9-9554-C02833CB7D89}" type="presParOf" srcId="{3D21A085-0D46-431F-AF65-6AB5E7CDAAC2}" destId="{0341357A-CCE5-433E-B311-7BF078E7BBB4}" srcOrd="2" destOrd="0" presId="urn:microsoft.com/office/officeart/2008/layout/HalfCircleOrganizationChart"/>
    <dgm:cxn modelId="{FD865F37-4CB7-4331-BA02-CE17EF46ADC4}" type="presParOf" srcId="{3D21A085-0D46-431F-AF65-6AB5E7CDAAC2}" destId="{B757BD5B-3915-44F7-AB05-AD5E6E77EA73}" srcOrd="3" destOrd="0" presId="urn:microsoft.com/office/officeart/2008/layout/HalfCircleOrganizationChart"/>
    <dgm:cxn modelId="{2987F2BA-62A9-44AF-9E5D-96B6DE099D79}" type="presParOf" srcId="{E879FCBA-2801-45D9-97F7-189CA8CD2A55}" destId="{0C090456-0982-4D4F-8CBC-F53630C99274}" srcOrd="1" destOrd="0" presId="urn:microsoft.com/office/officeart/2008/layout/HalfCircleOrganizationChart"/>
    <dgm:cxn modelId="{2BE7994C-942B-4366-A159-DCDC2820FC21}" type="presParOf" srcId="{E879FCBA-2801-45D9-97F7-189CA8CD2A55}" destId="{282A06BA-1064-43A3-8E5E-4F0978D4EA95}" srcOrd="2" destOrd="0" presId="urn:microsoft.com/office/officeart/2008/layout/HalfCircleOrganizationChart"/>
    <dgm:cxn modelId="{0E231E49-C636-4E5C-B80E-46D584343878}" type="presParOf" srcId="{E0A0DFA8-86DF-4906-9D85-B416A335DAF5}" destId="{A0E86D06-A3F7-4709-8A9C-4D44DBF44CF7}" srcOrd="2" destOrd="0" presId="urn:microsoft.com/office/officeart/2008/layout/HalfCircleOrganizationChart"/>
    <dgm:cxn modelId="{9F447761-EB6D-4CB4-B9D1-6620FD85CBC9}" type="presParOf" srcId="{E0A0DFA8-86DF-4906-9D85-B416A335DAF5}" destId="{4922E2FD-5329-408A-B5EE-54991623EAA2}" srcOrd="3" destOrd="0" presId="urn:microsoft.com/office/officeart/2008/layout/HalfCircleOrganizationChart"/>
    <dgm:cxn modelId="{09712B94-8ED9-44C7-82C0-417817862FC4}" type="presParOf" srcId="{4922E2FD-5329-408A-B5EE-54991623EAA2}" destId="{9F712AF5-6E3B-4759-B214-90A9CA04CEA6}" srcOrd="0" destOrd="0" presId="urn:microsoft.com/office/officeart/2008/layout/HalfCircleOrganizationChart"/>
    <dgm:cxn modelId="{E595C131-6543-4CFE-8A30-BA316610F331}" type="presParOf" srcId="{9F712AF5-6E3B-4759-B214-90A9CA04CEA6}" destId="{5E2A218B-AF19-4B26-9C3E-28B9FD73D26E}" srcOrd="0" destOrd="0" presId="urn:microsoft.com/office/officeart/2008/layout/HalfCircleOrganizationChart"/>
    <dgm:cxn modelId="{15FAF761-366F-4654-96F9-DD0B5B813255}" type="presParOf" srcId="{9F712AF5-6E3B-4759-B214-90A9CA04CEA6}" destId="{DCD2A7DD-1628-4388-B259-B1426FA1CFC9}" srcOrd="1" destOrd="0" presId="urn:microsoft.com/office/officeart/2008/layout/HalfCircleOrganizationChart"/>
    <dgm:cxn modelId="{D3A1831A-CEBE-4CC7-A0ED-99A282CD3751}" type="presParOf" srcId="{9F712AF5-6E3B-4759-B214-90A9CA04CEA6}" destId="{426ED91C-0CC2-437B-8962-CED9630A11AC}" srcOrd="2" destOrd="0" presId="urn:microsoft.com/office/officeart/2008/layout/HalfCircleOrganizationChart"/>
    <dgm:cxn modelId="{F28DEC9F-449D-42DE-AFBF-88A5884CE672}" type="presParOf" srcId="{9F712AF5-6E3B-4759-B214-90A9CA04CEA6}" destId="{8204BC08-76BF-4282-81A5-056470317805}" srcOrd="3" destOrd="0" presId="urn:microsoft.com/office/officeart/2008/layout/HalfCircleOrganizationChart"/>
    <dgm:cxn modelId="{3319888B-F08D-4B27-A39D-6F265926FD81}" type="presParOf" srcId="{4922E2FD-5329-408A-B5EE-54991623EAA2}" destId="{BDB6473D-11B4-49D3-B912-4D9960B1D6DF}" srcOrd="1" destOrd="0" presId="urn:microsoft.com/office/officeart/2008/layout/HalfCircleOrganizationChart"/>
    <dgm:cxn modelId="{866FE508-3B79-4746-94EE-6610197AE5C1}" type="presParOf" srcId="{4922E2FD-5329-408A-B5EE-54991623EAA2}" destId="{89FF5E2D-02F8-47EC-A510-09679E5E078D}" srcOrd="2" destOrd="0" presId="urn:microsoft.com/office/officeart/2008/layout/HalfCircleOrganizationChart"/>
    <dgm:cxn modelId="{7C237602-ED36-401B-804C-97F168C223F1}" type="presParOf" srcId="{E0A0DFA8-86DF-4906-9D85-B416A335DAF5}" destId="{823839AC-C0F3-4B2A-A215-911EEAE5B217}" srcOrd="4" destOrd="0" presId="urn:microsoft.com/office/officeart/2008/layout/HalfCircleOrganizationChart"/>
    <dgm:cxn modelId="{6357FFB7-71AA-48D7-8EC1-31AD9B610F90}" type="presParOf" srcId="{E0A0DFA8-86DF-4906-9D85-B416A335DAF5}" destId="{87E80843-AF39-4110-8F77-27BCB492F1B9}" srcOrd="5" destOrd="0" presId="urn:microsoft.com/office/officeart/2008/layout/HalfCircleOrganizationChart"/>
    <dgm:cxn modelId="{E89504E3-20C9-4A7F-AF48-B577D70AA660}" type="presParOf" srcId="{87E80843-AF39-4110-8F77-27BCB492F1B9}" destId="{7584DE1A-96A6-4DB8-99DA-2E47CC68692F}" srcOrd="0" destOrd="0" presId="urn:microsoft.com/office/officeart/2008/layout/HalfCircleOrganizationChart"/>
    <dgm:cxn modelId="{B4AE3730-F0B1-4E21-A87D-741A8FF7D9A7}" type="presParOf" srcId="{7584DE1A-96A6-4DB8-99DA-2E47CC68692F}" destId="{A3DB3751-D8AE-4F64-95DE-54C32CC4A8F1}" srcOrd="0" destOrd="0" presId="urn:microsoft.com/office/officeart/2008/layout/HalfCircleOrganizationChart"/>
    <dgm:cxn modelId="{9B4018A8-3A5E-48B0-9809-640BE7FAE235}" type="presParOf" srcId="{7584DE1A-96A6-4DB8-99DA-2E47CC68692F}" destId="{A3CEFF5F-EE1B-45AB-8948-1001CEDC5CCD}" srcOrd="1" destOrd="0" presId="urn:microsoft.com/office/officeart/2008/layout/HalfCircleOrganizationChart"/>
    <dgm:cxn modelId="{39BEFA13-229B-4A93-834F-D741B58991C3}" type="presParOf" srcId="{7584DE1A-96A6-4DB8-99DA-2E47CC68692F}" destId="{AD458E84-8767-4475-84A5-B52696301257}" srcOrd="2" destOrd="0" presId="urn:microsoft.com/office/officeart/2008/layout/HalfCircleOrganizationChart"/>
    <dgm:cxn modelId="{FC882A6F-9A2B-4C10-A950-FC348B854453}" type="presParOf" srcId="{7584DE1A-96A6-4DB8-99DA-2E47CC68692F}" destId="{3E3AD10B-8992-4DB6-91D8-DE283CB73339}" srcOrd="3" destOrd="0" presId="urn:microsoft.com/office/officeart/2008/layout/HalfCircleOrganizationChart"/>
    <dgm:cxn modelId="{DD5E24B1-3E88-46D3-9A40-978D31DBB21A}" type="presParOf" srcId="{87E80843-AF39-4110-8F77-27BCB492F1B9}" destId="{07039BB4-84B4-4DD5-A33E-FB173E4240ED}" srcOrd="1" destOrd="0" presId="urn:microsoft.com/office/officeart/2008/layout/HalfCircleOrganizationChart"/>
    <dgm:cxn modelId="{8113B95B-AD1C-42C4-8B06-FA9BB557981A}" type="presParOf" srcId="{87E80843-AF39-4110-8F77-27BCB492F1B9}" destId="{BB0292BA-02FB-40CF-BED1-14F1663492FE}" srcOrd="2" destOrd="0" presId="urn:microsoft.com/office/officeart/2008/layout/HalfCircleOrganizationChart"/>
    <dgm:cxn modelId="{23545BFD-5E7B-4DE9-9C36-8A729C5DF8DA}" type="presParOf" srcId="{E0A0DFA8-86DF-4906-9D85-B416A335DAF5}" destId="{F6F75026-B492-447C-97A2-96820DFEBB84}" srcOrd="6" destOrd="0" presId="urn:microsoft.com/office/officeart/2008/layout/HalfCircleOrganizationChart"/>
    <dgm:cxn modelId="{5D386AB4-9D28-4723-9C1F-CB4413107C66}" type="presParOf" srcId="{E0A0DFA8-86DF-4906-9D85-B416A335DAF5}" destId="{8C1F96EF-B9A8-43C8-A177-A161FFCBCD5E}" srcOrd="7" destOrd="0" presId="urn:microsoft.com/office/officeart/2008/layout/HalfCircleOrganizationChart"/>
    <dgm:cxn modelId="{9E3650E0-A580-4D27-B56D-025D9C0A1904}" type="presParOf" srcId="{8C1F96EF-B9A8-43C8-A177-A161FFCBCD5E}" destId="{2208A7AC-2970-48ED-9662-EF7FF32873FA}" srcOrd="0" destOrd="0" presId="urn:microsoft.com/office/officeart/2008/layout/HalfCircleOrganizationChart"/>
    <dgm:cxn modelId="{B4EA0514-2248-4E43-AF51-21B7D9DE7485}" type="presParOf" srcId="{2208A7AC-2970-48ED-9662-EF7FF32873FA}" destId="{16ADE5F8-CB54-4262-B47A-46D46B2F3EBC}" srcOrd="0" destOrd="0" presId="urn:microsoft.com/office/officeart/2008/layout/HalfCircleOrganizationChart"/>
    <dgm:cxn modelId="{59059CD6-1FDD-4FF9-BB18-5E6D05AF08E6}" type="presParOf" srcId="{2208A7AC-2970-48ED-9662-EF7FF32873FA}" destId="{AFF509BD-9D1D-4C94-987C-A331343519A3}" srcOrd="1" destOrd="0" presId="urn:microsoft.com/office/officeart/2008/layout/HalfCircleOrganizationChart"/>
    <dgm:cxn modelId="{17CC86CE-8C30-41B6-AA48-58DB8C1FC81E}" type="presParOf" srcId="{2208A7AC-2970-48ED-9662-EF7FF32873FA}" destId="{8758304F-BE3D-4AE4-8A17-76E4CFD0891D}" srcOrd="2" destOrd="0" presId="urn:microsoft.com/office/officeart/2008/layout/HalfCircleOrganizationChart"/>
    <dgm:cxn modelId="{2E04B51A-2718-4D72-BBAA-76226B64FBFE}" type="presParOf" srcId="{2208A7AC-2970-48ED-9662-EF7FF32873FA}" destId="{9682B83C-708C-49F6-9D5C-79396A6B3F1E}" srcOrd="3" destOrd="0" presId="urn:microsoft.com/office/officeart/2008/layout/HalfCircleOrganizationChart"/>
    <dgm:cxn modelId="{B0B1DD9D-040E-4C05-966A-2AEADD5F575B}" type="presParOf" srcId="{8C1F96EF-B9A8-43C8-A177-A161FFCBCD5E}" destId="{CFAD1B15-5791-4A6B-80C8-2D3FFC5C985C}" srcOrd="1" destOrd="0" presId="urn:microsoft.com/office/officeart/2008/layout/HalfCircleOrganizationChart"/>
    <dgm:cxn modelId="{723942BC-B4A1-482F-882B-135E57AA5FA9}" type="presParOf" srcId="{8C1F96EF-B9A8-43C8-A177-A161FFCBCD5E}" destId="{49A86350-AB7C-43BF-BD3C-604CC20E9FB2}" srcOrd="2" destOrd="0" presId="urn:microsoft.com/office/officeart/2008/layout/HalfCircleOrganizationChart"/>
    <dgm:cxn modelId="{33E41650-2AE0-4335-9E51-C51D28E8A209}" type="presParOf" srcId="{E0A0DFA8-86DF-4906-9D85-B416A335DAF5}" destId="{7B47C29A-9D13-4B5A-A3A8-E21ECB712FF1}" srcOrd="8" destOrd="0" presId="urn:microsoft.com/office/officeart/2008/layout/HalfCircleOrganizationChart"/>
    <dgm:cxn modelId="{815A9D28-3762-480E-A80E-98EAB1A22E48}" type="presParOf" srcId="{E0A0DFA8-86DF-4906-9D85-B416A335DAF5}" destId="{5C183F8B-B237-4D49-ADA5-25290CDDABA2}" srcOrd="9" destOrd="0" presId="urn:microsoft.com/office/officeart/2008/layout/HalfCircleOrganizationChart"/>
    <dgm:cxn modelId="{91EAC9EB-EC16-4332-9D29-635208BE7559}" type="presParOf" srcId="{5C183F8B-B237-4D49-ADA5-25290CDDABA2}" destId="{BECEA1B8-CFC2-4E31-9FB0-956464E0AA88}" srcOrd="0" destOrd="0" presId="urn:microsoft.com/office/officeart/2008/layout/HalfCircleOrganizationChart"/>
    <dgm:cxn modelId="{F72EC753-5229-41C6-A130-C0961E06C235}" type="presParOf" srcId="{BECEA1B8-CFC2-4E31-9FB0-956464E0AA88}" destId="{9E9728F9-50FF-4D7F-8E30-BFD9C9D30030}" srcOrd="0" destOrd="0" presId="urn:microsoft.com/office/officeart/2008/layout/HalfCircleOrganizationChart"/>
    <dgm:cxn modelId="{C2C8ED00-FA4E-4B9B-B7BD-E3EABC127B04}" type="presParOf" srcId="{BECEA1B8-CFC2-4E31-9FB0-956464E0AA88}" destId="{C7951CFA-14A4-4638-9C96-5B95F080DA6E}" srcOrd="1" destOrd="0" presId="urn:microsoft.com/office/officeart/2008/layout/HalfCircleOrganizationChart"/>
    <dgm:cxn modelId="{94A9CC99-44AD-4DA9-A4DB-CBBAE8484BBA}" type="presParOf" srcId="{BECEA1B8-CFC2-4E31-9FB0-956464E0AA88}" destId="{F0986B3D-4357-4F1F-BF0C-C3E1988FA00B}" srcOrd="2" destOrd="0" presId="urn:microsoft.com/office/officeart/2008/layout/HalfCircleOrganizationChart"/>
    <dgm:cxn modelId="{2B176D7A-EE54-485D-A6A0-D536B4812FF0}" type="presParOf" srcId="{BECEA1B8-CFC2-4E31-9FB0-956464E0AA88}" destId="{97AC553C-D691-4AAA-A2B1-7266F5D2FE75}" srcOrd="3" destOrd="0" presId="urn:microsoft.com/office/officeart/2008/layout/HalfCircleOrganizationChart"/>
    <dgm:cxn modelId="{B8E96599-541C-458D-BDD0-909DF7745BA8}" type="presParOf" srcId="{5C183F8B-B237-4D49-ADA5-25290CDDABA2}" destId="{BBCCA60A-7A18-41EB-AF04-2BD3A2D7C0FB}" srcOrd="1" destOrd="0" presId="urn:microsoft.com/office/officeart/2008/layout/HalfCircleOrganizationChart"/>
    <dgm:cxn modelId="{1A1F67CC-8229-4485-ACFD-1AC05A15B3DF}" type="presParOf" srcId="{5C183F8B-B237-4D49-ADA5-25290CDDABA2}" destId="{5A17D65D-293E-4F04-8CA8-E3102FE532A3}" srcOrd="2" destOrd="0" presId="urn:microsoft.com/office/officeart/2008/layout/HalfCircleOrganizationChart"/>
    <dgm:cxn modelId="{D2372AE9-B5B0-47EF-B3E0-0E353AE18936}" type="presParOf" srcId="{E0A0DFA8-86DF-4906-9D85-B416A335DAF5}" destId="{D47EA5D2-79BD-43AF-B030-79A75ED32C70}" srcOrd="10" destOrd="0" presId="urn:microsoft.com/office/officeart/2008/layout/HalfCircleOrganizationChart"/>
    <dgm:cxn modelId="{59981443-3A99-4BFF-924F-CB9917D507E7}" type="presParOf" srcId="{E0A0DFA8-86DF-4906-9D85-B416A335DAF5}" destId="{ADC61226-B719-407B-9B17-F1603D3AF0A3}" srcOrd="11" destOrd="0" presId="urn:microsoft.com/office/officeart/2008/layout/HalfCircleOrganizationChart"/>
    <dgm:cxn modelId="{FC598CBB-8368-4FC1-8156-C155CA1C6DD4}" type="presParOf" srcId="{ADC61226-B719-407B-9B17-F1603D3AF0A3}" destId="{05086743-9909-4D86-8C18-685187690167}" srcOrd="0" destOrd="0" presId="urn:microsoft.com/office/officeart/2008/layout/HalfCircleOrganizationChart"/>
    <dgm:cxn modelId="{83F292A8-38DF-438E-8F4B-4F57EF96EF9E}" type="presParOf" srcId="{05086743-9909-4D86-8C18-685187690167}" destId="{D42B6C50-9517-4A68-A35C-06B96BF45C11}" srcOrd="0" destOrd="0" presId="urn:microsoft.com/office/officeart/2008/layout/HalfCircleOrganizationChart"/>
    <dgm:cxn modelId="{890847CE-5C08-490B-AE32-887B5EFF1706}" type="presParOf" srcId="{05086743-9909-4D86-8C18-685187690167}" destId="{83B896E8-4CDC-40EE-BD25-B36D364A5C6E}" srcOrd="1" destOrd="0" presId="urn:microsoft.com/office/officeart/2008/layout/HalfCircleOrganizationChart"/>
    <dgm:cxn modelId="{4D74DC4F-C20A-4503-B0B2-0D0D4AB17C1F}" type="presParOf" srcId="{05086743-9909-4D86-8C18-685187690167}" destId="{A15FCB77-20B7-46A2-BFCF-1511CAD1A485}" srcOrd="2" destOrd="0" presId="urn:microsoft.com/office/officeart/2008/layout/HalfCircleOrganizationChart"/>
    <dgm:cxn modelId="{E6E041B5-6B5B-4D62-81FF-A77801E7F23F}" type="presParOf" srcId="{05086743-9909-4D86-8C18-685187690167}" destId="{2DE44961-0D28-4527-87C5-B48CE2EA9F20}" srcOrd="3" destOrd="0" presId="urn:microsoft.com/office/officeart/2008/layout/HalfCircleOrganizationChart"/>
    <dgm:cxn modelId="{ECC897E7-71BE-4C2C-9D54-EB1FA9945AF4}" type="presParOf" srcId="{ADC61226-B719-407B-9B17-F1603D3AF0A3}" destId="{FB3E767F-E4D4-46B4-9DC3-6E2EB174D939}" srcOrd="1" destOrd="0" presId="urn:microsoft.com/office/officeart/2008/layout/HalfCircleOrganizationChart"/>
    <dgm:cxn modelId="{DE175B5A-CFCD-4021-A7A7-EA01F0AF7090}" type="presParOf" srcId="{ADC61226-B719-407B-9B17-F1603D3AF0A3}" destId="{7737BF44-AA4C-4369-8DD1-B87B4974EBF6}" srcOrd="2" destOrd="0" presId="urn:microsoft.com/office/officeart/2008/layout/HalfCircle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243807-169A-4AE8-8FC0-DE5797F152E2}" type="doc">
      <dgm:prSet loTypeId="urn:microsoft.com/office/officeart/2008/layout/HalfCircleOrganizationChart" loCatId="hierarchy" qsTypeId="urn:microsoft.com/office/officeart/2009/2/quickstyle/3d8" qsCatId="3D" csTypeId="urn:microsoft.com/office/officeart/2005/8/colors/accent1_2" csCatId="accent1" phldr="1"/>
      <dgm:spPr/>
      <dgm:t>
        <a:bodyPr/>
        <a:lstStyle/>
        <a:p>
          <a:endParaRPr lang="en-US"/>
        </a:p>
      </dgm:t>
    </dgm:pt>
    <dgm:pt modelId="{BD36C393-C2B6-47AA-836E-93243BD014B7}" type="asst">
      <dgm:prSet phldrT="[Text]" custT="1"/>
      <dgm:spPr/>
      <dgm:t>
        <a:bodyPr/>
        <a:lstStyle/>
        <a:p>
          <a:r>
            <a:rPr lang="en-US" sz="1000" b="1" dirty="0">
              <a:latin typeface="Raleway" pitchFamily="2" charset="0"/>
            </a:rPr>
            <a:t>Risk Appetite </a:t>
          </a:r>
        </a:p>
        <a:p>
          <a:r>
            <a:rPr lang="en-US" sz="1000" b="1" dirty="0">
              <a:latin typeface="Raleway" pitchFamily="2" charset="0"/>
            </a:rPr>
            <a:t>Statement</a:t>
          </a:r>
          <a:endParaRPr lang="en-US" sz="1000" dirty="0"/>
        </a:p>
      </dgm:t>
    </dgm:pt>
    <dgm:pt modelId="{CD00D4A5-D11B-42BA-8E31-A298EE8B7A61}" type="parTrans" cxnId="{69332F1F-0AD5-4BD5-B19E-75013FE073DD}">
      <dgm:prSet/>
      <dgm:spPr/>
      <dgm:t>
        <a:bodyPr/>
        <a:lstStyle/>
        <a:p>
          <a:endParaRPr lang="en-US" sz="1000"/>
        </a:p>
      </dgm:t>
    </dgm:pt>
    <dgm:pt modelId="{9755732C-1CDD-4519-AA5D-A973CEF0239B}" type="sibTrans" cxnId="{69332F1F-0AD5-4BD5-B19E-75013FE073DD}">
      <dgm:prSet/>
      <dgm:spPr/>
      <dgm:t>
        <a:bodyPr/>
        <a:lstStyle/>
        <a:p>
          <a:endParaRPr lang="en-US" sz="1000"/>
        </a:p>
      </dgm:t>
    </dgm:pt>
    <dgm:pt modelId="{C7BB80D3-4650-42BF-B9D3-12BAAE34DAEA}" type="asst">
      <dgm:prSet phldrT="[Text]" custT="1"/>
      <dgm:spPr/>
      <dgm:t>
        <a:bodyPr/>
        <a:lstStyle/>
        <a:p>
          <a:r>
            <a:rPr lang="en-US" sz="1000" b="1" dirty="0">
              <a:latin typeface="Raleway" pitchFamily="2" charset="0"/>
            </a:rPr>
            <a:t>Retail Risk </a:t>
          </a:r>
        </a:p>
        <a:p>
          <a:r>
            <a:rPr lang="en-US" sz="1000" b="1" dirty="0">
              <a:latin typeface="Raleway" pitchFamily="2" charset="0"/>
            </a:rPr>
            <a:t>Analytics</a:t>
          </a:r>
          <a:endParaRPr lang="en-US" sz="1000" dirty="0"/>
        </a:p>
      </dgm:t>
    </dgm:pt>
    <dgm:pt modelId="{0A002493-4DDC-4FCA-B30A-F6C926DB7BE0}" type="parTrans" cxnId="{F12EBE07-10E1-49EC-9629-1EF5787B2720}">
      <dgm:prSet/>
      <dgm:spPr/>
      <dgm:t>
        <a:bodyPr/>
        <a:lstStyle/>
        <a:p>
          <a:endParaRPr lang="en-US" sz="1000"/>
        </a:p>
      </dgm:t>
    </dgm:pt>
    <dgm:pt modelId="{D1245C41-7252-4EA6-BFBB-ED9AD548BC2E}" type="sibTrans" cxnId="{F12EBE07-10E1-49EC-9629-1EF5787B2720}">
      <dgm:prSet/>
      <dgm:spPr/>
      <dgm:t>
        <a:bodyPr/>
        <a:lstStyle/>
        <a:p>
          <a:endParaRPr lang="en-US" sz="1000"/>
        </a:p>
      </dgm:t>
    </dgm:pt>
    <dgm:pt modelId="{0744E35B-FD72-46EC-9CEC-A26DC268F0C4}" type="asst">
      <dgm:prSet phldrT="[Text]" custT="1"/>
      <dgm:spPr/>
      <dgm:t>
        <a:bodyPr/>
        <a:lstStyle/>
        <a:p>
          <a:r>
            <a:rPr lang="en-US" sz="1000" b="1" dirty="0">
              <a:latin typeface="Raleway" pitchFamily="2" charset="0"/>
            </a:rPr>
            <a:t>Risk Appetite </a:t>
          </a:r>
        </a:p>
        <a:p>
          <a:r>
            <a:rPr lang="en-US" sz="1000" b="1" dirty="0">
              <a:latin typeface="Raleway" pitchFamily="2" charset="0"/>
            </a:rPr>
            <a:t>Statement</a:t>
          </a:r>
          <a:endParaRPr lang="en-US" sz="1000" dirty="0"/>
        </a:p>
      </dgm:t>
    </dgm:pt>
    <dgm:pt modelId="{F3419DFE-2623-4864-92D1-66D2ED721B99}" type="parTrans" cxnId="{F4D3CD19-C609-40B7-8F12-EB245DAEC27A}">
      <dgm:prSet/>
      <dgm:spPr/>
      <dgm:t>
        <a:bodyPr/>
        <a:lstStyle/>
        <a:p>
          <a:endParaRPr lang="en-US" sz="1000"/>
        </a:p>
      </dgm:t>
    </dgm:pt>
    <dgm:pt modelId="{31BBF6ED-1AB8-49F5-A115-E44D8E1F3A7C}" type="sibTrans" cxnId="{F4D3CD19-C609-40B7-8F12-EB245DAEC27A}">
      <dgm:prSet/>
      <dgm:spPr/>
      <dgm:t>
        <a:bodyPr/>
        <a:lstStyle/>
        <a:p>
          <a:endParaRPr lang="en-US" sz="1000"/>
        </a:p>
      </dgm:t>
    </dgm:pt>
    <dgm:pt modelId="{98292CFA-F98C-462B-883B-C84F6DEFD95A}" type="asst">
      <dgm:prSet phldrT="[Text]" custT="1"/>
      <dgm:spPr/>
      <dgm:t>
        <a:bodyPr/>
        <a:lstStyle/>
        <a:p>
          <a:r>
            <a:rPr lang="en-US" sz="1000" b="1" dirty="0">
              <a:latin typeface="Raleway" pitchFamily="2" charset="0"/>
            </a:rPr>
            <a:t>Market Risk </a:t>
          </a:r>
        </a:p>
        <a:p>
          <a:r>
            <a:rPr lang="en-US" sz="1000" b="1" dirty="0">
              <a:latin typeface="Raleway" pitchFamily="2" charset="0"/>
            </a:rPr>
            <a:t>Engine &amp; Hedging</a:t>
          </a:r>
          <a:endParaRPr lang="en-US" sz="1000" dirty="0"/>
        </a:p>
      </dgm:t>
    </dgm:pt>
    <dgm:pt modelId="{2DC05B9E-6B18-4E02-BABC-4C8376CA3AA0}" type="parTrans" cxnId="{327AE2A5-BFD0-4554-A60B-9966E3FA87F1}">
      <dgm:prSet/>
      <dgm:spPr/>
      <dgm:t>
        <a:bodyPr/>
        <a:lstStyle/>
        <a:p>
          <a:endParaRPr lang="en-US" sz="1000"/>
        </a:p>
      </dgm:t>
    </dgm:pt>
    <dgm:pt modelId="{18425246-F21B-48F1-8995-3AB1591FA703}" type="sibTrans" cxnId="{327AE2A5-BFD0-4554-A60B-9966E3FA87F1}">
      <dgm:prSet/>
      <dgm:spPr/>
      <dgm:t>
        <a:bodyPr/>
        <a:lstStyle/>
        <a:p>
          <a:endParaRPr lang="en-US" sz="1000"/>
        </a:p>
      </dgm:t>
    </dgm:pt>
    <dgm:pt modelId="{976ED11A-6C84-4C41-B6F7-890956AA9B1F}" type="asst">
      <dgm:prSet phldrT="[Text]" custT="1"/>
      <dgm:spPr/>
      <dgm:t>
        <a:bodyPr/>
        <a:lstStyle/>
        <a:p>
          <a:r>
            <a:rPr lang="en-US" sz="1000" b="1" dirty="0">
              <a:latin typeface="Raleway" pitchFamily="2" charset="0"/>
            </a:rPr>
            <a:t>Credit Rating </a:t>
          </a:r>
        </a:p>
        <a:p>
          <a:r>
            <a:rPr lang="en-US" sz="1000" b="1" dirty="0">
              <a:latin typeface="Raleway" pitchFamily="2" charset="0"/>
            </a:rPr>
            <a:t>&amp; Scoring Models</a:t>
          </a:r>
          <a:endParaRPr lang="en-US" sz="1000" dirty="0"/>
        </a:p>
      </dgm:t>
    </dgm:pt>
    <dgm:pt modelId="{E97F3190-F492-4358-9D1B-98F7470DE474}" type="parTrans" cxnId="{FCDE9446-47E9-431C-A846-AE893339678A}">
      <dgm:prSet/>
      <dgm:spPr/>
      <dgm:t>
        <a:bodyPr/>
        <a:lstStyle/>
        <a:p>
          <a:endParaRPr lang="en-US" sz="1000"/>
        </a:p>
      </dgm:t>
    </dgm:pt>
    <dgm:pt modelId="{B60CF4A7-1971-46BB-A132-397064D487BB}" type="sibTrans" cxnId="{FCDE9446-47E9-431C-A846-AE893339678A}">
      <dgm:prSet/>
      <dgm:spPr/>
      <dgm:t>
        <a:bodyPr/>
        <a:lstStyle/>
        <a:p>
          <a:endParaRPr lang="en-US" sz="1000"/>
        </a:p>
      </dgm:t>
    </dgm:pt>
    <dgm:pt modelId="{F50B3D0E-AA65-474E-8C4A-FF36BD84ED1C}" type="asst">
      <dgm:prSet phldrT="[Text]" custT="1"/>
      <dgm:spPr/>
      <dgm:t>
        <a:bodyPr/>
        <a:lstStyle/>
        <a:p>
          <a:r>
            <a:rPr lang="en-US" sz="1000" b="1" dirty="0">
              <a:latin typeface="Raleway" pitchFamily="2" charset="0"/>
            </a:rPr>
            <a:t>Operational Risk </a:t>
          </a:r>
        </a:p>
      </dgm:t>
    </dgm:pt>
    <dgm:pt modelId="{434B9738-A42E-440C-94AF-DB94C1FFA8D7}" type="parTrans" cxnId="{42CB2BEA-F560-4DD8-8747-CFA7A90E14AF}">
      <dgm:prSet/>
      <dgm:spPr/>
      <dgm:t>
        <a:bodyPr/>
        <a:lstStyle/>
        <a:p>
          <a:endParaRPr lang="en-US" sz="1000"/>
        </a:p>
      </dgm:t>
    </dgm:pt>
    <dgm:pt modelId="{5D59CF28-7416-4A6A-AFCE-D098AD136A45}" type="sibTrans" cxnId="{42CB2BEA-F560-4DD8-8747-CFA7A90E14AF}">
      <dgm:prSet/>
      <dgm:spPr/>
      <dgm:t>
        <a:bodyPr/>
        <a:lstStyle/>
        <a:p>
          <a:endParaRPr lang="en-US" sz="1000"/>
        </a:p>
      </dgm:t>
    </dgm:pt>
    <dgm:pt modelId="{333351D2-C7DE-455C-8C90-92DE4E0A8602}">
      <dgm:prSet phldrT="[Text]" custT="1"/>
      <dgm:spPr/>
      <dgm:t>
        <a:bodyPr/>
        <a:lstStyle/>
        <a:p>
          <a:endParaRPr lang="en-US" sz="1000" b="1" dirty="0">
            <a:latin typeface="Raleway" pitchFamily="2" charset="0"/>
          </a:endParaRPr>
        </a:p>
        <a:p>
          <a:r>
            <a:rPr lang="en-US" sz="1000" b="1" dirty="0">
              <a:latin typeface="Raleway" pitchFamily="2" charset="0"/>
            </a:rPr>
            <a:t>Business Planning &amp;</a:t>
          </a:r>
        </a:p>
        <a:p>
          <a:r>
            <a:rPr lang="en-US" sz="1000" b="1" dirty="0">
              <a:latin typeface="Raleway" pitchFamily="2" charset="0"/>
            </a:rPr>
            <a:t> Budgeting</a:t>
          </a:r>
        </a:p>
        <a:p>
          <a:endParaRPr lang="en-US" sz="1000" dirty="0"/>
        </a:p>
      </dgm:t>
    </dgm:pt>
    <dgm:pt modelId="{EF76CD78-F7B2-4498-A3D1-CDE7D5DFF184}" type="sibTrans" cxnId="{A8FE4DA8-4882-4D58-89FF-2757C9B44131}">
      <dgm:prSet/>
      <dgm:spPr/>
      <dgm:t>
        <a:bodyPr/>
        <a:lstStyle/>
        <a:p>
          <a:endParaRPr lang="en-US" sz="1000"/>
        </a:p>
      </dgm:t>
    </dgm:pt>
    <dgm:pt modelId="{7A8470EA-E1B6-4079-B9A6-C3C82AC39901}" type="parTrans" cxnId="{A8FE4DA8-4882-4D58-89FF-2757C9B44131}">
      <dgm:prSet/>
      <dgm:spPr/>
      <dgm:t>
        <a:bodyPr/>
        <a:lstStyle/>
        <a:p>
          <a:endParaRPr lang="en-US" sz="1000"/>
        </a:p>
      </dgm:t>
    </dgm:pt>
    <dgm:pt modelId="{C4ADFA52-3265-4C6A-9ACE-2C297268C6B6}" type="asst">
      <dgm:prSet phldrT="[Text]" custT="1"/>
      <dgm:spPr/>
      <dgm:t>
        <a:bodyPr/>
        <a:lstStyle/>
        <a:p>
          <a:r>
            <a:rPr lang="en-US" sz="1000" b="1" dirty="0">
              <a:latin typeface="Raleway" pitchFamily="2" charset="0"/>
            </a:rPr>
            <a:t>Monitoring &amp; Validation</a:t>
          </a:r>
          <a:endParaRPr lang="en-US" sz="1000" dirty="0"/>
        </a:p>
      </dgm:t>
    </dgm:pt>
    <dgm:pt modelId="{C5B34880-6F4F-4F9E-BD7E-8A04E8862377}" type="parTrans" cxnId="{275BEB48-0E52-460D-AB34-5327651B61BA}">
      <dgm:prSet/>
      <dgm:spPr/>
      <dgm:t>
        <a:bodyPr/>
        <a:lstStyle/>
        <a:p>
          <a:endParaRPr lang="en-US" sz="1000"/>
        </a:p>
      </dgm:t>
    </dgm:pt>
    <dgm:pt modelId="{2C8D4E03-00A2-4472-81BC-C7993CA2EA14}" type="sibTrans" cxnId="{275BEB48-0E52-460D-AB34-5327651B61BA}">
      <dgm:prSet/>
      <dgm:spPr/>
      <dgm:t>
        <a:bodyPr/>
        <a:lstStyle/>
        <a:p>
          <a:endParaRPr lang="en-US" sz="1000"/>
        </a:p>
      </dgm:t>
    </dgm:pt>
    <dgm:pt modelId="{757A78E8-32D7-4B8E-BA38-9A4F21958434}" type="pres">
      <dgm:prSet presAssocID="{73243807-169A-4AE8-8FC0-DE5797F152E2}" presName="Name0" presStyleCnt="0">
        <dgm:presLayoutVars>
          <dgm:orgChart val="1"/>
          <dgm:chPref val="1"/>
          <dgm:dir/>
          <dgm:animOne val="branch"/>
          <dgm:animLvl val="lvl"/>
          <dgm:resizeHandles/>
        </dgm:presLayoutVars>
      </dgm:prSet>
      <dgm:spPr/>
    </dgm:pt>
    <dgm:pt modelId="{06AAE7AB-546A-4FDC-BF12-425C73AC8CAD}" type="pres">
      <dgm:prSet presAssocID="{333351D2-C7DE-455C-8C90-92DE4E0A8602}" presName="hierRoot1" presStyleCnt="0">
        <dgm:presLayoutVars>
          <dgm:hierBranch val="init"/>
        </dgm:presLayoutVars>
      </dgm:prSet>
      <dgm:spPr/>
    </dgm:pt>
    <dgm:pt modelId="{E807492C-AF0C-41F2-91A1-5E15C90D853F}" type="pres">
      <dgm:prSet presAssocID="{333351D2-C7DE-455C-8C90-92DE4E0A8602}" presName="rootComposite1" presStyleCnt="0"/>
      <dgm:spPr/>
    </dgm:pt>
    <dgm:pt modelId="{A4B2666B-7355-498A-B810-54F3BEB6E4FB}" type="pres">
      <dgm:prSet presAssocID="{333351D2-C7DE-455C-8C90-92DE4E0A8602}" presName="rootText1" presStyleLbl="alignAcc1" presStyleIdx="0" presStyleCnt="0">
        <dgm:presLayoutVars>
          <dgm:chPref val="3"/>
        </dgm:presLayoutVars>
      </dgm:prSet>
      <dgm:spPr/>
    </dgm:pt>
    <dgm:pt modelId="{7ECF9C54-A461-4B26-8A1D-C23CFD32B325}" type="pres">
      <dgm:prSet presAssocID="{333351D2-C7DE-455C-8C90-92DE4E0A8602}" presName="topArc1" presStyleLbl="parChTrans1D1" presStyleIdx="0" presStyleCnt="16"/>
      <dgm:spPr/>
    </dgm:pt>
    <dgm:pt modelId="{6F0A7412-C58A-4DFD-9116-78643285014E}" type="pres">
      <dgm:prSet presAssocID="{333351D2-C7DE-455C-8C90-92DE4E0A8602}" presName="bottomArc1" presStyleLbl="parChTrans1D1" presStyleIdx="1" presStyleCnt="16"/>
      <dgm:spPr/>
    </dgm:pt>
    <dgm:pt modelId="{CE63D20E-5CA2-4265-BF5F-F362456DC153}" type="pres">
      <dgm:prSet presAssocID="{333351D2-C7DE-455C-8C90-92DE4E0A8602}" presName="topConnNode1" presStyleLbl="node1" presStyleIdx="0" presStyleCnt="0"/>
      <dgm:spPr/>
    </dgm:pt>
    <dgm:pt modelId="{DA7DC2BE-D9D2-4843-B386-4324EC4E9778}" type="pres">
      <dgm:prSet presAssocID="{333351D2-C7DE-455C-8C90-92DE4E0A8602}" presName="hierChild2" presStyleCnt="0"/>
      <dgm:spPr/>
    </dgm:pt>
    <dgm:pt modelId="{6EAB3D28-8AEC-4CB1-820D-6F0BAAB94BEC}" type="pres">
      <dgm:prSet presAssocID="{333351D2-C7DE-455C-8C90-92DE4E0A8602}" presName="hierChild3" presStyleCnt="0"/>
      <dgm:spPr/>
    </dgm:pt>
    <dgm:pt modelId="{B1FC5672-C1B2-43BB-9746-9A96F130FEA6}" type="pres">
      <dgm:prSet presAssocID="{CD00D4A5-D11B-42BA-8E31-A298EE8B7A61}" presName="Name101" presStyleLbl="parChTrans1D2" presStyleIdx="0" presStyleCnt="7"/>
      <dgm:spPr/>
    </dgm:pt>
    <dgm:pt modelId="{4B0B263E-925A-4294-BF8E-7FA036FB2AC5}" type="pres">
      <dgm:prSet presAssocID="{BD36C393-C2B6-47AA-836E-93243BD014B7}" presName="hierRoot3" presStyleCnt="0">
        <dgm:presLayoutVars>
          <dgm:hierBranch val="init"/>
        </dgm:presLayoutVars>
      </dgm:prSet>
      <dgm:spPr/>
    </dgm:pt>
    <dgm:pt modelId="{FE539C8C-FDC7-4BEB-BB36-36DE3EEFC6E0}" type="pres">
      <dgm:prSet presAssocID="{BD36C393-C2B6-47AA-836E-93243BD014B7}" presName="rootComposite3" presStyleCnt="0"/>
      <dgm:spPr/>
    </dgm:pt>
    <dgm:pt modelId="{EAB08F51-017D-4B87-8100-4CBE99B7EA34}" type="pres">
      <dgm:prSet presAssocID="{BD36C393-C2B6-47AA-836E-93243BD014B7}" presName="rootText3" presStyleLbl="alignAcc1" presStyleIdx="0" presStyleCnt="0">
        <dgm:presLayoutVars>
          <dgm:chPref val="3"/>
        </dgm:presLayoutVars>
      </dgm:prSet>
      <dgm:spPr/>
    </dgm:pt>
    <dgm:pt modelId="{18773D9D-3AAD-4EFA-9EFD-D61EF09149F5}" type="pres">
      <dgm:prSet presAssocID="{BD36C393-C2B6-47AA-836E-93243BD014B7}" presName="topArc3" presStyleLbl="parChTrans1D1" presStyleIdx="2" presStyleCnt="16"/>
      <dgm:spPr/>
    </dgm:pt>
    <dgm:pt modelId="{916E53E1-8B03-4809-B5C5-6FB6E56560B0}" type="pres">
      <dgm:prSet presAssocID="{BD36C393-C2B6-47AA-836E-93243BD014B7}" presName="bottomArc3" presStyleLbl="parChTrans1D1" presStyleIdx="3" presStyleCnt="16"/>
      <dgm:spPr/>
    </dgm:pt>
    <dgm:pt modelId="{5B42AA15-1D01-474B-9DC0-7BFFF0740F54}" type="pres">
      <dgm:prSet presAssocID="{BD36C393-C2B6-47AA-836E-93243BD014B7}" presName="topConnNode3" presStyleLbl="asst1" presStyleIdx="0" presStyleCnt="0"/>
      <dgm:spPr/>
    </dgm:pt>
    <dgm:pt modelId="{BCD2CA41-71EF-42C9-94D4-412B9A00E94A}" type="pres">
      <dgm:prSet presAssocID="{BD36C393-C2B6-47AA-836E-93243BD014B7}" presName="hierChild6" presStyleCnt="0"/>
      <dgm:spPr/>
    </dgm:pt>
    <dgm:pt modelId="{EA377F4D-565B-4523-A4D2-76F291117888}" type="pres">
      <dgm:prSet presAssocID="{BD36C393-C2B6-47AA-836E-93243BD014B7}" presName="hierChild7" presStyleCnt="0"/>
      <dgm:spPr/>
    </dgm:pt>
    <dgm:pt modelId="{A4766B68-CFDA-490A-B14B-2EE5EAFE1E71}" type="pres">
      <dgm:prSet presAssocID="{F3419DFE-2623-4864-92D1-66D2ED721B99}" presName="Name101" presStyleLbl="parChTrans1D2" presStyleIdx="1" presStyleCnt="7"/>
      <dgm:spPr/>
    </dgm:pt>
    <dgm:pt modelId="{FA684A6F-25F8-4AE7-9383-DBDDCDFCABD9}" type="pres">
      <dgm:prSet presAssocID="{0744E35B-FD72-46EC-9CEC-A26DC268F0C4}" presName="hierRoot3" presStyleCnt="0">
        <dgm:presLayoutVars>
          <dgm:hierBranch val="init"/>
        </dgm:presLayoutVars>
      </dgm:prSet>
      <dgm:spPr/>
    </dgm:pt>
    <dgm:pt modelId="{84FF29FF-3E5E-4EE1-923B-C46237622289}" type="pres">
      <dgm:prSet presAssocID="{0744E35B-FD72-46EC-9CEC-A26DC268F0C4}" presName="rootComposite3" presStyleCnt="0"/>
      <dgm:spPr/>
    </dgm:pt>
    <dgm:pt modelId="{23F34046-E0FF-48B5-A643-505AE934390C}" type="pres">
      <dgm:prSet presAssocID="{0744E35B-FD72-46EC-9CEC-A26DC268F0C4}" presName="rootText3" presStyleLbl="alignAcc1" presStyleIdx="0" presStyleCnt="0">
        <dgm:presLayoutVars>
          <dgm:chPref val="3"/>
        </dgm:presLayoutVars>
      </dgm:prSet>
      <dgm:spPr/>
    </dgm:pt>
    <dgm:pt modelId="{EDAD7174-5676-475D-9F6B-F5FEF839527C}" type="pres">
      <dgm:prSet presAssocID="{0744E35B-FD72-46EC-9CEC-A26DC268F0C4}" presName="topArc3" presStyleLbl="parChTrans1D1" presStyleIdx="4" presStyleCnt="16"/>
      <dgm:spPr/>
    </dgm:pt>
    <dgm:pt modelId="{0D89DB1A-21D2-43B2-B3B4-14A18C7A5F21}" type="pres">
      <dgm:prSet presAssocID="{0744E35B-FD72-46EC-9CEC-A26DC268F0C4}" presName="bottomArc3" presStyleLbl="parChTrans1D1" presStyleIdx="5" presStyleCnt="16"/>
      <dgm:spPr/>
    </dgm:pt>
    <dgm:pt modelId="{7FE361C1-A603-47AE-9414-04F7652F6938}" type="pres">
      <dgm:prSet presAssocID="{0744E35B-FD72-46EC-9CEC-A26DC268F0C4}" presName="topConnNode3" presStyleLbl="asst1" presStyleIdx="0" presStyleCnt="0"/>
      <dgm:spPr/>
    </dgm:pt>
    <dgm:pt modelId="{4DDCBA53-587C-4EFC-973E-5A05C6EC74A7}" type="pres">
      <dgm:prSet presAssocID="{0744E35B-FD72-46EC-9CEC-A26DC268F0C4}" presName="hierChild6" presStyleCnt="0"/>
      <dgm:spPr/>
    </dgm:pt>
    <dgm:pt modelId="{9FC0A332-D193-4899-BC56-E6150B99152E}" type="pres">
      <dgm:prSet presAssocID="{0744E35B-FD72-46EC-9CEC-A26DC268F0C4}" presName="hierChild7" presStyleCnt="0"/>
      <dgm:spPr/>
    </dgm:pt>
    <dgm:pt modelId="{2B252BF1-BCB2-40BF-B1B6-E3F5E7444394}" type="pres">
      <dgm:prSet presAssocID="{2DC05B9E-6B18-4E02-BABC-4C8376CA3AA0}" presName="Name101" presStyleLbl="parChTrans1D2" presStyleIdx="2" presStyleCnt="7"/>
      <dgm:spPr/>
    </dgm:pt>
    <dgm:pt modelId="{3411FA31-7A28-4075-91DD-A770F5E461D6}" type="pres">
      <dgm:prSet presAssocID="{98292CFA-F98C-462B-883B-C84F6DEFD95A}" presName="hierRoot3" presStyleCnt="0">
        <dgm:presLayoutVars>
          <dgm:hierBranch val="init"/>
        </dgm:presLayoutVars>
      </dgm:prSet>
      <dgm:spPr/>
    </dgm:pt>
    <dgm:pt modelId="{12F4B793-F695-4D86-BACF-5A803C0D690E}" type="pres">
      <dgm:prSet presAssocID="{98292CFA-F98C-462B-883B-C84F6DEFD95A}" presName="rootComposite3" presStyleCnt="0"/>
      <dgm:spPr/>
    </dgm:pt>
    <dgm:pt modelId="{3A3E9886-E7DF-482C-8EC2-3BE991C8A9BE}" type="pres">
      <dgm:prSet presAssocID="{98292CFA-F98C-462B-883B-C84F6DEFD95A}" presName="rootText3" presStyleLbl="alignAcc1" presStyleIdx="0" presStyleCnt="0">
        <dgm:presLayoutVars>
          <dgm:chPref val="3"/>
        </dgm:presLayoutVars>
      </dgm:prSet>
      <dgm:spPr/>
    </dgm:pt>
    <dgm:pt modelId="{62822BE3-80E3-409A-88C6-25F0E2E4BF1A}" type="pres">
      <dgm:prSet presAssocID="{98292CFA-F98C-462B-883B-C84F6DEFD95A}" presName="topArc3" presStyleLbl="parChTrans1D1" presStyleIdx="6" presStyleCnt="16"/>
      <dgm:spPr/>
    </dgm:pt>
    <dgm:pt modelId="{BD123748-3CEA-4D3B-BB73-D63DC39AC3E5}" type="pres">
      <dgm:prSet presAssocID="{98292CFA-F98C-462B-883B-C84F6DEFD95A}" presName="bottomArc3" presStyleLbl="parChTrans1D1" presStyleIdx="7" presStyleCnt="16"/>
      <dgm:spPr/>
    </dgm:pt>
    <dgm:pt modelId="{26463C9D-25C8-423C-BEFC-18B7267CB225}" type="pres">
      <dgm:prSet presAssocID="{98292CFA-F98C-462B-883B-C84F6DEFD95A}" presName="topConnNode3" presStyleLbl="asst1" presStyleIdx="0" presStyleCnt="0"/>
      <dgm:spPr/>
    </dgm:pt>
    <dgm:pt modelId="{C1C7037C-1A27-445D-A063-FD6311D16803}" type="pres">
      <dgm:prSet presAssocID="{98292CFA-F98C-462B-883B-C84F6DEFD95A}" presName="hierChild6" presStyleCnt="0"/>
      <dgm:spPr/>
    </dgm:pt>
    <dgm:pt modelId="{54BF0C19-2AC4-4E90-A614-ACB4DFE2566E}" type="pres">
      <dgm:prSet presAssocID="{98292CFA-F98C-462B-883B-C84F6DEFD95A}" presName="hierChild7" presStyleCnt="0"/>
      <dgm:spPr/>
    </dgm:pt>
    <dgm:pt modelId="{30E4F2A3-D8C7-44F7-8D9D-ADD591629649}" type="pres">
      <dgm:prSet presAssocID="{E97F3190-F492-4358-9D1B-98F7470DE474}" presName="Name101" presStyleLbl="parChTrans1D2" presStyleIdx="3" presStyleCnt="7"/>
      <dgm:spPr/>
    </dgm:pt>
    <dgm:pt modelId="{389750E4-A96C-4AB4-9ADD-9E9DA0CE7593}" type="pres">
      <dgm:prSet presAssocID="{976ED11A-6C84-4C41-B6F7-890956AA9B1F}" presName="hierRoot3" presStyleCnt="0">
        <dgm:presLayoutVars>
          <dgm:hierBranch val="init"/>
        </dgm:presLayoutVars>
      </dgm:prSet>
      <dgm:spPr/>
    </dgm:pt>
    <dgm:pt modelId="{D084D15A-80B6-475A-BB5D-73D6C3C8C8BF}" type="pres">
      <dgm:prSet presAssocID="{976ED11A-6C84-4C41-B6F7-890956AA9B1F}" presName="rootComposite3" presStyleCnt="0"/>
      <dgm:spPr/>
    </dgm:pt>
    <dgm:pt modelId="{30DBB49E-708A-4A3B-92B8-7CC19B5E4B76}" type="pres">
      <dgm:prSet presAssocID="{976ED11A-6C84-4C41-B6F7-890956AA9B1F}" presName="rootText3" presStyleLbl="alignAcc1" presStyleIdx="0" presStyleCnt="0">
        <dgm:presLayoutVars>
          <dgm:chPref val="3"/>
        </dgm:presLayoutVars>
      </dgm:prSet>
      <dgm:spPr/>
    </dgm:pt>
    <dgm:pt modelId="{AE3D0419-E476-432E-9D82-F99F52221F70}" type="pres">
      <dgm:prSet presAssocID="{976ED11A-6C84-4C41-B6F7-890956AA9B1F}" presName="topArc3" presStyleLbl="parChTrans1D1" presStyleIdx="8" presStyleCnt="16"/>
      <dgm:spPr/>
    </dgm:pt>
    <dgm:pt modelId="{A9E8C976-A327-4476-AB8B-B63420AF4362}" type="pres">
      <dgm:prSet presAssocID="{976ED11A-6C84-4C41-B6F7-890956AA9B1F}" presName="bottomArc3" presStyleLbl="parChTrans1D1" presStyleIdx="9" presStyleCnt="16"/>
      <dgm:spPr/>
    </dgm:pt>
    <dgm:pt modelId="{57409D3C-99AD-4F4B-A5AF-B4512DEF8E44}" type="pres">
      <dgm:prSet presAssocID="{976ED11A-6C84-4C41-B6F7-890956AA9B1F}" presName="topConnNode3" presStyleLbl="asst1" presStyleIdx="0" presStyleCnt="0"/>
      <dgm:spPr/>
    </dgm:pt>
    <dgm:pt modelId="{1459709B-0AE4-47A8-B36A-E05C68EB5CA7}" type="pres">
      <dgm:prSet presAssocID="{976ED11A-6C84-4C41-B6F7-890956AA9B1F}" presName="hierChild6" presStyleCnt="0"/>
      <dgm:spPr/>
    </dgm:pt>
    <dgm:pt modelId="{B28C4C1D-27EF-4F1A-B17E-9E0136602CD6}" type="pres">
      <dgm:prSet presAssocID="{976ED11A-6C84-4C41-B6F7-890956AA9B1F}" presName="hierChild7" presStyleCnt="0"/>
      <dgm:spPr/>
    </dgm:pt>
    <dgm:pt modelId="{1294D6C3-A39B-42E4-BE51-C2E86C5BBE0E}" type="pres">
      <dgm:prSet presAssocID="{434B9738-A42E-440C-94AF-DB94C1FFA8D7}" presName="Name101" presStyleLbl="parChTrans1D2" presStyleIdx="4" presStyleCnt="7"/>
      <dgm:spPr/>
    </dgm:pt>
    <dgm:pt modelId="{EB667259-2DE4-4D89-B291-8D154F174CB0}" type="pres">
      <dgm:prSet presAssocID="{F50B3D0E-AA65-474E-8C4A-FF36BD84ED1C}" presName="hierRoot3" presStyleCnt="0">
        <dgm:presLayoutVars>
          <dgm:hierBranch val="init"/>
        </dgm:presLayoutVars>
      </dgm:prSet>
      <dgm:spPr/>
    </dgm:pt>
    <dgm:pt modelId="{3EC637A0-54D4-4BA2-BAB3-8D5FAA351449}" type="pres">
      <dgm:prSet presAssocID="{F50B3D0E-AA65-474E-8C4A-FF36BD84ED1C}" presName="rootComposite3" presStyleCnt="0"/>
      <dgm:spPr/>
    </dgm:pt>
    <dgm:pt modelId="{6AB9AEB0-AEC7-4627-9DE7-F15346BC918C}" type="pres">
      <dgm:prSet presAssocID="{F50B3D0E-AA65-474E-8C4A-FF36BD84ED1C}" presName="rootText3" presStyleLbl="alignAcc1" presStyleIdx="0" presStyleCnt="0">
        <dgm:presLayoutVars>
          <dgm:chPref val="3"/>
        </dgm:presLayoutVars>
      </dgm:prSet>
      <dgm:spPr/>
    </dgm:pt>
    <dgm:pt modelId="{4218C1A3-672E-4A2F-9F1C-70464DBD661C}" type="pres">
      <dgm:prSet presAssocID="{F50B3D0E-AA65-474E-8C4A-FF36BD84ED1C}" presName="topArc3" presStyleLbl="parChTrans1D1" presStyleIdx="10" presStyleCnt="16"/>
      <dgm:spPr/>
    </dgm:pt>
    <dgm:pt modelId="{0A6E299A-2592-4587-BCF2-9BF0B418E738}" type="pres">
      <dgm:prSet presAssocID="{F50B3D0E-AA65-474E-8C4A-FF36BD84ED1C}" presName="bottomArc3" presStyleLbl="parChTrans1D1" presStyleIdx="11" presStyleCnt="16"/>
      <dgm:spPr/>
    </dgm:pt>
    <dgm:pt modelId="{6E6C5C45-A41B-4F47-A866-D3F09ABEB7BC}" type="pres">
      <dgm:prSet presAssocID="{F50B3D0E-AA65-474E-8C4A-FF36BD84ED1C}" presName="topConnNode3" presStyleLbl="asst1" presStyleIdx="0" presStyleCnt="0"/>
      <dgm:spPr/>
    </dgm:pt>
    <dgm:pt modelId="{A934E3C4-F0BC-4610-845F-06A3B95768CF}" type="pres">
      <dgm:prSet presAssocID="{F50B3D0E-AA65-474E-8C4A-FF36BD84ED1C}" presName="hierChild6" presStyleCnt="0"/>
      <dgm:spPr/>
    </dgm:pt>
    <dgm:pt modelId="{84798EFB-9F00-4DD4-9E6D-263596556F08}" type="pres">
      <dgm:prSet presAssocID="{F50B3D0E-AA65-474E-8C4A-FF36BD84ED1C}" presName="hierChild7" presStyleCnt="0"/>
      <dgm:spPr/>
    </dgm:pt>
    <dgm:pt modelId="{0CEC51F2-8D3A-49B2-9E40-346DAA1FD3F8}" type="pres">
      <dgm:prSet presAssocID="{0A002493-4DDC-4FCA-B30A-F6C926DB7BE0}" presName="Name101" presStyleLbl="parChTrans1D2" presStyleIdx="5" presStyleCnt="7"/>
      <dgm:spPr/>
    </dgm:pt>
    <dgm:pt modelId="{B5031843-CEA0-4FA2-B375-FD8012A7FF42}" type="pres">
      <dgm:prSet presAssocID="{C7BB80D3-4650-42BF-B9D3-12BAAE34DAEA}" presName="hierRoot3" presStyleCnt="0">
        <dgm:presLayoutVars>
          <dgm:hierBranch val="init"/>
        </dgm:presLayoutVars>
      </dgm:prSet>
      <dgm:spPr/>
    </dgm:pt>
    <dgm:pt modelId="{CE2AD0D7-4CAE-428F-9E6D-D612007751A1}" type="pres">
      <dgm:prSet presAssocID="{C7BB80D3-4650-42BF-B9D3-12BAAE34DAEA}" presName="rootComposite3" presStyleCnt="0"/>
      <dgm:spPr/>
    </dgm:pt>
    <dgm:pt modelId="{7744933C-DE6F-45C4-8BF9-4AAD6AB5A16A}" type="pres">
      <dgm:prSet presAssocID="{C7BB80D3-4650-42BF-B9D3-12BAAE34DAEA}" presName="rootText3" presStyleLbl="alignAcc1" presStyleIdx="0" presStyleCnt="0">
        <dgm:presLayoutVars>
          <dgm:chPref val="3"/>
        </dgm:presLayoutVars>
      </dgm:prSet>
      <dgm:spPr/>
    </dgm:pt>
    <dgm:pt modelId="{EEFFA529-3E3B-4639-B52B-828E951B8827}" type="pres">
      <dgm:prSet presAssocID="{C7BB80D3-4650-42BF-B9D3-12BAAE34DAEA}" presName="topArc3" presStyleLbl="parChTrans1D1" presStyleIdx="12" presStyleCnt="16"/>
      <dgm:spPr/>
    </dgm:pt>
    <dgm:pt modelId="{F6287557-24FD-4AEC-88D4-372C6CFD3A50}" type="pres">
      <dgm:prSet presAssocID="{C7BB80D3-4650-42BF-B9D3-12BAAE34DAEA}" presName="bottomArc3" presStyleLbl="parChTrans1D1" presStyleIdx="13" presStyleCnt="16"/>
      <dgm:spPr/>
    </dgm:pt>
    <dgm:pt modelId="{8ECE8128-BBA1-4393-B3C0-C38B94885943}" type="pres">
      <dgm:prSet presAssocID="{C7BB80D3-4650-42BF-B9D3-12BAAE34DAEA}" presName="topConnNode3" presStyleLbl="asst1" presStyleIdx="0" presStyleCnt="0"/>
      <dgm:spPr/>
    </dgm:pt>
    <dgm:pt modelId="{36889828-AB7E-4F8D-A36C-717DFEFBC96B}" type="pres">
      <dgm:prSet presAssocID="{C7BB80D3-4650-42BF-B9D3-12BAAE34DAEA}" presName="hierChild6" presStyleCnt="0"/>
      <dgm:spPr/>
    </dgm:pt>
    <dgm:pt modelId="{4F5D14AD-9C02-4952-A147-D755C4AA6784}" type="pres">
      <dgm:prSet presAssocID="{C7BB80D3-4650-42BF-B9D3-12BAAE34DAEA}" presName="hierChild7" presStyleCnt="0"/>
      <dgm:spPr/>
    </dgm:pt>
    <dgm:pt modelId="{959D2844-EE6A-4108-8168-234EA9BF786F}" type="pres">
      <dgm:prSet presAssocID="{C5B34880-6F4F-4F9E-BD7E-8A04E8862377}" presName="Name101" presStyleLbl="parChTrans1D2" presStyleIdx="6" presStyleCnt="7"/>
      <dgm:spPr/>
    </dgm:pt>
    <dgm:pt modelId="{22124B5D-87A5-4B09-8C94-36103E9B2764}" type="pres">
      <dgm:prSet presAssocID="{C4ADFA52-3265-4C6A-9ACE-2C297268C6B6}" presName="hierRoot3" presStyleCnt="0">
        <dgm:presLayoutVars>
          <dgm:hierBranch val="init"/>
        </dgm:presLayoutVars>
      </dgm:prSet>
      <dgm:spPr/>
    </dgm:pt>
    <dgm:pt modelId="{204CE290-D1F8-4DB1-BE44-A1A48C4147D2}" type="pres">
      <dgm:prSet presAssocID="{C4ADFA52-3265-4C6A-9ACE-2C297268C6B6}" presName="rootComposite3" presStyleCnt="0"/>
      <dgm:spPr/>
    </dgm:pt>
    <dgm:pt modelId="{7557D423-E6D6-4237-8397-267C41FD9706}" type="pres">
      <dgm:prSet presAssocID="{C4ADFA52-3265-4C6A-9ACE-2C297268C6B6}" presName="rootText3" presStyleLbl="alignAcc1" presStyleIdx="0" presStyleCnt="0">
        <dgm:presLayoutVars>
          <dgm:chPref val="3"/>
        </dgm:presLayoutVars>
      </dgm:prSet>
      <dgm:spPr/>
    </dgm:pt>
    <dgm:pt modelId="{07C51F39-2128-4EAD-B728-847312A063A7}" type="pres">
      <dgm:prSet presAssocID="{C4ADFA52-3265-4C6A-9ACE-2C297268C6B6}" presName="topArc3" presStyleLbl="parChTrans1D1" presStyleIdx="14" presStyleCnt="16"/>
      <dgm:spPr/>
    </dgm:pt>
    <dgm:pt modelId="{762BD64B-EA3C-4B00-A953-D18B4217F6B6}" type="pres">
      <dgm:prSet presAssocID="{C4ADFA52-3265-4C6A-9ACE-2C297268C6B6}" presName="bottomArc3" presStyleLbl="parChTrans1D1" presStyleIdx="15" presStyleCnt="16"/>
      <dgm:spPr/>
    </dgm:pt>
    <dgm:pt modelId="{608E0E73-5AB8-4613-BAC0-5D22E92990B9}" type="pres">
      <dgm:prSet presAssocID="{C4ADFA52-3265-4C6A-9ACE-2C297268C6B6}" presName="topConnNode3" presStyleLbl="asst1" presStyleIdx="0" presStyleCnt="0"/>
      <dgm:spPr/>
    </dgm:pt>
    <dgm:pt modelId="{1CB2B54D-C205-4DF8-AECA-41CAF2EC5D57}" type="pres">
      <dgm:prSet presAssocID="{C4ADFA52-3265-4C6A-9ACE-2C297268C6B6}" presName="hierChild6" presStyleCnt="0"/>
      <dgm:spPr/>
    </dgm:pt>
    <dgm:pt modelId="{132DE4AA-A3B4-4C79-A472-5453639A1A98}" type="pres">
      <dgm:prSet presAssocID="{C4ADFA52-3265-4C6A-9ACE-2C297268C6B6}" presName="hierChild7" presStyleCnt="0"/>
      <dgm:spPr/>
    </dgm:pt>
  </dgm:ptLst>
  <dgm:cxnLst>
    <dgm:cxn modelId="{8EE8B602-21CC-4BAD-B761-2ED900ADCDA6}" type="presOf" srcId="{98292CFA-F98C-462B-883B-C84F6DEFD95A}" destId="{3A3E9886-E7DF-482C-8EC2-3BE991C8A9BE}" srcOrd="0" destOrd="0" presId="urn:microsoft.com/office/officeart/2008/layout/HalfCircleOrganizationChart"/>
    <dgm:cxn modelId="{F12EBE07-10E1-49EC-9629-1EF5787B2720}" srcId="{333351D2-C7DE-455C-8C90-92DE4E0A8602}" destId="{C7BB80D3-4650-42BF-B9D3-12BAAE34DAEA}" srcOrd="5" destOrd="0" parTransId="{0A002493-4DDC-4FCA-B30A-F6C926DB7BE0}" sibTransId="{D1245C41-7252-4EA6-BFBB-ED9AD548BC2E}"/>
    <dgm:cxn modelId="{F4D3CD19-C609-40B7-8F12-EB245DAEC27A}" srcId="{333351D2-C7DE-455C-8C90-92DE4E0A8602}" destId="{0744E35B-FD72-46EC-9CEC-A26DC268F0C4}" srcOrd="1" destOrd="0" parTransId="{F3419DFE-2623-4864-92D1-66D2ED721B99}" sibTransId="{31BBF6ED-1AB8-49F5-A115-E44D8E1F3A7C}"/>
    <dgm:cxn modelId="{69332F1F-0AD5-4BD5-B19E-75013FE073DD}" srcId="{333351D2-C7DE-455C-8C90-92DE4E0A8602}" destId="{BD36C393-C2B6-47AA-836E-93243BD014B7}" srcOrd="0" destOrd="0" parTransId="{CD00D4A5-D11B-42BA-8E31-A298EE8B7A61}" sibTransId="{9755732C-1CDD-4519-AA5D-A973CEF0239B}"/>
    <dgm:cxn modelId="{BC247322-9161-4C73-96EB-B782C9ADA994}" type="presOf" srcId="{2DC05B9E-6B18-4E02-BABC-4C8376CA3AA0}" destId="{2B252BF1-BCB2-40BF-B1B6-E3F5E7444394}" srcOrd="0" destOrd="0" presId="urn:microsoft.com/office/officeart/2008/layout/HalfCircleOrganizationChart"/>
    <dgm:cxn modelId="{5EF21F29-45D7-4936-A614-95FFA237815F}" type="presOf" srcId="{98292CFA-F98C-462B-883B-C84F6DEFD95A}" destId="{26463C9D-25C8-423C-BEFC-18B7267CB225}" srcOrd="1" destOrd="0" presId="urn:microsoft.com/office/officeart/2008/layout/HalfCircleOrganizationChart"/>
    <dgm:cxn modelId="{D382CF29-CA88-4A50-AABC-60DA93DECE91}" type="presOf" srcId="{333351D2-C7DE-455C-8C90-92DE4E0A8602}" destId="{A4B2666B-7355-498A-B810-54F3BEB6E4FB}" srcOrd="0" destOrd="0" presId="urn:microsoft.com/office/officeart/2008/layout/HalfCircleOrganizationChart"/>
    <dgm:cxn modelId="{F5B61432-97ED-4709-B254-68AB3B3CCCEF}" type="presOf" srcId="{F50B3D0E-AA65-474E-8C4A-FF36BD84ED1C}" destId="{6E6C5C45-A41B-4F47-A866-D3F09ABEB7BC}" srcOrd="1" destOrd="0" presId="urn:microsoft.com/office/officeart/2008/layout/HalfCircleOrganizationChart"/>
    <dgm:cxn modelId="{B09A403C-7BF0-4E17-83A3-F23B0910B808}" type="presOf" srcId="{333351D2-C7DE-455C-8C90-92DE4E0A8602}" destId="{CE63D20E-5CA2-4265-BF5F-F362456DC153}" srcOrd="1" destOrd="0" presId="urn:microsoft.com/office/officeart/2008/layout/HalfCircleOrganizationChart"/>
    <dgm:cxn modelId="{C6080540-C767-490B-B97B-559D0F7D3799}" type="presOf" srcId="{C7BB80D3-4650-42BF-B9D3-12BAAE34DAEA}" destId="{7744933C-DE6F-45C4-8BF9-4AAD6AB5A16A}" srcOrd="0" destOrd="0" presId="urn:microsoft.com/office/officeart/2008/layout/HalfCircleOrganizationChart"/>
    <dgm:cxn modelId="{7AE8385D-A3C0-4F78-8962-083226E5325F}" type="presOf" srcId="{CD00D4A5-D11B-42BA-8E31-A298EE8B7A61}" destId="{B1FC5672-C1B2-43BB-9746-9A96F130FEA6}" srcOrd="0" destOrd="0" presId="urn:microsoft.com/office/officeart/2008/layout/HalfCircleOrganizationChart"/>
    <dgm:cxn modelId="{BCF5BD5D-EEBA-4AA0-AC49-D1DB9E7C6E18}" type="presOf" srcId="{BD36C393-C2B6-47AA-836E-93243BD014B7}" destId="{5B42AA15-1D01-474B-9DC0-7BFFF0740F54}" srcOrd="1" destOrd="0" presId="urn:microsoft.com/office/officeart/2008/layout/HalfCircleOrganizationChart"/>
    <dgm:cxn modelId="{5D730761-CD76-49DF-A1D4-0F0882F68987}" type="presOf" srcId="{F3419DFE-2623-4864-92D1-66D2ED721B99}" destId="{A4766B68-CFDA-490A-B14B-2EE5EAFE1E71}" srcOrd="0" destOrd="0" presId="urn:microsoft.com/office/officeart/2008/layout/HalfCircleOrganizationChart"/>
    <dgm:cxn modelId="{38AA7C63-CD3E-4EC9-B4AF-13F48F84EC1D}" type="presOf" srcId="{0744E35B-FD72-46EC-9CEC-A26DC268F0C4}" destId="{23F34046-E0FF-48B5-A643-505AE934390C}" srcOrd="0" destOrd="0" presId="urn:microsoft.com/office/officeart/2008/layout/HalfCircleOrganizationChart"/>
    <dgm:cxn modelId="{5B8E9565-C58D-4B55-A5E4-949640918B88}" type="presOf" srcId="{0A002493-4DDC-4FCA-B30A-F6C926DB7BE0}" destId="{0CEC51F2-8D3A-49B2-9E40-346DAA1FD3F8}" srcOrd="0" destOrd="0" presId="urn:microsoft.com/office/officeart/2008/layout/HalfCircleOrganizationChart"/>
    <dgm:cxn modelId="{FCDE9446-47E9-431C-A846-AE893339678A}" srcId="{333351D2-C7DE-455C-8C90-92DE4E0A8602}" destId="{976ED11A-6C84-4C41-B6F7-890956AA9B1F}" srcOrd="3" destOrd="0" parTransId="{E97F3190-F492-4358-9D1B-98F7470DE474}" sibTransId="{B60CF4A7-1971-46BB-A132-397064D487BB}"/>
    <dgm:cxn modelId="{275BEB48-0E52-460D-AB34-5327651B61BA}" srcId="{333351D2-C7DE-455C-8C90-92DE4E0A8602}" destId="{C4ADFA52-3265-4C6A-9ACE-2C297268C6B6}" srcOrd="6" destOrd="0" parTransId="{C5B34880-6F4F-4F9E-BD7E-8A04E8862377}" sibTransId="{2C8D4E03-00A2-4472-81BC-C7993CA2EA14}"/>
    <dgm:cxn modelId="{499C3A57-D356-4B72-B1DE-F208E3E2A02E}" type="presOf" srcId="{C4ADFA52-3265-4C6A-9ACE-2C297268C6B6}" destId="{7557D423-E6D6-4237-8397-267C41FD9706}" srcOrd="0" destOrd="0" presId="urn:microsoft.com/office/officeart/2008/layout/HalfCircleOrganizationChart"/>
    <dgm:cxn modelId="{A910415A-1BD1-4EA1-8294-C6E0C15EF4C8}" type="presOf" srcId="{BD36C393-C2B6-47AA-836E-93243BD014B7}" destId="{EAB08F51-017D-4B87-8100-4CBE99B7EA34}" srcOrd="0" destOrd="0" presId="urn:microsoft.com/office/officeart/2008/layout/HalfCircleOrganizationChart"/>
    <dgm:cxn modelId="{8140AC5A-A050-412C-A9E5-C71F343386CF}" type="presOf" srcId="{976ED11A-6C84-4C41-B6F7-890956AA9B1F}" destId="{30DBB49E-708A-4A3B-92B8-7CC19B5E4B76}" srcOrd="0" destOrd="0" presId="urn:microsoft.com/office/officeart/2008/layout/HalfCircleOrganizationChart"/>
    <dgm:cxn modelId="{4A0A2981-639A-4D2C-89FC-C00A526653C7}" type="presOf" srcId="{F50B3D0E-AA65-474E-8C4A-FF36BD84ED1C}" destId="{6AB9AEB0-AEC7-4627-9DE7-F15346BC918C}" srcOrd="0" destOrd="0" presId="urn:microsoft.com/office/officeart/2008/layout/HalfCircleOrganizationChart"/>
    <dgm:cxn modelId="{1D8A5A83-F554-4DE8-8E21-D7EDCB4CA1CE}" type="presOf" srcId="{C5B34880-6F4F-4F9E-BD7E-8A04E8862377}" destId="{959D2844-EE6A-4108-8168-234EA9BF786F}" srcOrd="0" destOrd="0" presId="urn:microsoft.com/office/officeart/2008/layout/HalfCircleOrganizationChart"/>
    <dgm:cxn modelId="{4ACB739A-1327-41B6-A093-22DBEA2ACE8E}" type="presOf" srcId="{C4ADFA52-3265-4C6A-9ACE-2C297268C6B6}" destId="{608E0E73-5AB8-4613-BAC0-5D22E92990B9}" srcOrd="1" destOrd="0" presId="urn:microsoft.com/office/officeart/2008/layout/HalfCircleOrganizationChart"/>
    <dgm:cxn modelId="{327AE2A5-BFD0-4554-A60B-9966E3FA87F1}" srcId="{333351D2-C7DE-455C-8C90-92DE4E0A8602}" destId="{98292CFA-F98C-462B-883B-C84F6DEFD95A}" srcOrd="2" destOrd="0" parTransId="{2DC05B9E-6B18-4E02-BABC-4C8376CA3AA0}" sibTransId="{18425246-F21B-48F1-8995-3AB1591FA703}"/>
    <dgm:cxn modelId="{A8FE4DA8-4882-4D58-89FF-2757C9B44131}" srcId="{73243807-169A-4AE8-8FC0-DE5797F152E2}" destId="{333351D2-C7DE-455C-8C90-92DE4E0A8602}" srcOrd="0" destOrd="0" parTransId="{7A8470EA-E1B6-4079-B9A6-C3C82AC39901}" sibTransId="{EF76CD78-F7B2-4498-A3D1-CDE7D5DFF184}"/>
    <dgm:cxn modelId="{A4E62BD1-D8F0-49A4-8B45-A9DD6DBB8191}" type="presOf" srcId="{C7BB80D3-4650-42BF-B9D3-12BAAE34DAEA}" destId="{8ECE8128-BBA1-4393-B3C0-C38B94885943}" srcOrd="1" destOrd="0" presId="urn:microsoft.com/office/officeart/2008/layout/HalfCircleOrganizationChart"/>
    <dgm:cxn modelId="{4A2B4BD1-B340-4F31-879B-F4E610CC87C8}" type="presOf" srcId="{73243807-169A-4AE8-8FC0-DE5797F152E2}" destId="{757A78E8-32D7-4B8E-BA38-9A4F21958434}" srcOrd="0" destOrd="0" presId="urn:microsoft.com/office/officeart/2008/layout/HalfCircleOrganizationChart"/>
    <dgm:cxn modelId="{382C78E2-9A81-46D5-A2BA-918F434EE108}" type="presOf" srcId="{976ED11A-6C84-4C41-B6F7-890956AA9B1F}" destId="{57409D3C-99AD-4F4B-A5AF-B4512DEF8E44}" srcOrd="1" destOrd="0" presId="urn:microsoft.com/office/officeart/2008/layout/HalfCircleOrganizationChart"/>
    <dgm:cxn modelId="{42CB2BEA-F560-4DD8-8747-CFA7A90E14AF}" srcId="{333351D2-C7DE-455C-8C90-92DE4E0A8602}" destId="{F50B3D0E-AA65-474E-8C4A-FF36BD84ED1C}" srcOrd="4" destOrd="0" parTransId="{434B9738-A42E-440C-94AF-DB94C1FFA8D7}" sibTransId="{5D59CF28-7416-4A6A-AFCE-D098AD136A45}"/>
    <dgm:cxn modelId="{666143EC-B1BF-4048-9877-F97A64D32E7B}" type="presOf" srcId="{E97F3190-F492-4358-9D1B-98F7470DE474}" destId="{30E4F2A3-D8C7-44F7-8D9D-ADD591629649}" srcOrd="0" destOrd="0" presId="urn:microsoft.com/office/officeart/2008/layout/HalfCircleOrganizationChart"/>
    <dgm:cxn modelId="{C3E741F3-57EF-4C38-A223-99AE26EA5357}" type="presOf" srcId="{434B9738-A42E-440C-94AF-DB94C1FFA8D7}" destId="{1294D6C3-A39B-42E4-BE51-C2E86C5BBE0E}" srcOrd="0" destOrd="0" presId="urn:microsoft.com/office/officeart/2008/layout/HalfCircleOrganizationChart"/>
    <dgm:cxn modelId="{6C6D66FA-4AB7-47A3-8851-7B889BBD5EBB}" type="presOf" srcId="{0744E35B-FD72-46EC-9CEC-A26DC268F0C4}" destId="{7FE361C1-A603-47AE-9414-04F7652F6938}" srcOrd="1" destOrd="0" presId="urn:microsoft.com/office/officeart/2008/layout/HalfCircleOrganizationChart"/>
    <dgm:cxn modelId="{886ABF45-96D8-4900-8AF1-F7AEB9517E9E}" type="presParOf" srcId="{757A78E8-32D7-4B8E-BA38-9A4F21958434}" destId="{06AAE7AB-546A-4FDC-BF12-425C73AC8CAD}" srcOrd="0" destOrd="0" presId="urn:microsoft.com/office/officeart/2008/layout/HalfCircleOrganizationChart"/>
    <dgm:cxn modelId="{C1FDF431-A42B-43C7-BC58-61EBA5787A2B}" type="presParOf" srcId="{06AAE7AB-546A-4FDC-BF12-425C73AC8CAD}" destId="{E807492C-AF0C-41F2-91A1-5E15C90D853F}" srcOrd="0" destOrd="0" presId="urn:microsoft.com/office/officeart/2008/layout/HalfCircleOrganizationChart"/>
    <dgm:cxn modelId="{05A8FC84-B34F-4493-8C5C-48630AA4B715}" type="presParOf" srcId="{E807492C-AF0C-41F2-91A1-5E15C90D853F}" destId="{A4B2666B-7355-498A-B810-54F3BEB6E4FB}" srcOrd="0" destOrd="0" presId="urn:microsoft.com/office/officeart/2008/layout/HalfCircleOrganizationChart"/>
    <dgm:cxn modelId="{CD1D97DC-ABF4-4229-B32C-C45D00989939}" type="presParOf" srcId="{E807492C-AF0C-41F2-91A1-5E15C90D853F}" destId="{7ECF9C54-A461-4B26-8A1D-C23CFD32B325}" srcOrd="1" destOrd="0" presId="urn:microsoft.com/office/officeart/2008/layout/HalfCircleOrganizationChart"/>
    <dgm:cxn modelId="{3C3B5B2F-20AF-450C-88A2-000A83405AB0}" type="presParOf" srcId="{E807492C-AF0C-41F2-91A1-5E15C90D853F}" destId="{6F0A7412-C58A-4DFD-9116-78643285014E}" srcOrd="2" destOrd="0" presId="urn:microsoft.com/office/officeart/2008/layout/HalfCircleOrganizationChart"/>
    <dgm:cxn modelId="{697AC83C-B838-4AC0-ABFC-8EE27FD1224B}" type="presParOf" srcId="{E807492C-AF0C-41F2-91A1-5E15C90D853F}" destId="{CE63D20E-5CA2-4265-BF5F-F362456DC153}" srcOrd="3" destOrd="0" presId="urn:microsoft.com/office/officeart/2008/layout/HalfCircleOrganizationChart"/>
    <dgm:cxn modelId="{B330F738-4358-482B-9EDA-0119D3CEB4F9}" type="presParOf" srcId="{06AAE7AB-546A-4FDC-BF12-425C73AC8CAD}" destId="{DA7DC2BE-D9D2-4843-B386-4324EC4E9778}" srcOrd="1" destOrd="0" presId="urn:microsoft.com/office/officeart/2008/layout/HalfCircleOrganizationChart"/>
    <dgm:cxn modelId="{9488D1D3-EE9A-45CB-8C64-F1D0851795ED}" type="presParOf" srcId="{06AAE7AB-546A-4FDC-BF12-425C73AC8CAD}" destId="{6EAB3D28-8AEC-4CB1-820D-6F0BAAB94BEC}" srcOrd="2" destOrd="0" presId="urn:microsoft.com/office/officeart/2008/layout/HalfCircleOrganizationChart"/>
    <dgm:cxn modelId="{F433CAE0-AFD1-4906-82EB-27F7357F83E4}" type="presParOf" srcId="{6EAB3D28-8AEC-4CB1-820D-6F0BAAB94BEC}" destId="{B1FC5672-C1B2-43BB-9746-9A96F130FEA6}" srcOrd="0" destOrd="0" presId="urn:microsoft.com/office/officeart/2008/layout/HalfCircleOrganizationChart"/>
    <dgm:cxn modelId="{627E9DCF-DD3C-4B0A-9799-84B9B2FE33AE}" type="presParOf" srcId="{6EAB3D28-8AEC-4CB1-820D-6F0BAAB94BEC}" destId="{4B0B263E-925A-4294-BF8E-7FA036FB2AC5}" srcOrd="1" destOrd="0" presId="urn:microsoft.com/office/officeart/2008/layout/HalfCircleOrganizationChart"/>
    <dgm:cxn modelId="{999FF8C5-1F04-4FC6-9C7B-0795239B9779}" type="presParOf" srcId="{4B0B263E-925A-4294-BF8E-7FA036FB2AC5}" destId="{FE539C8C-FDC7-4BEB-BB36-36DE3EEFC6E0}" srcOrd="0" destOrd="0" presId="urn:microsoft.com/office/officeart/2008/layout/HalfCircleOrganizationChart"/>
    <dgm:cxn modelId="{3E2C19C8-AC08-45C3-978B-B430D57D6FE4}" type="presParOf" srcId="{FE539C8C-FDC7-4BEB-BB36-36DE3EEFC6E0}" destId="{EAB08F51-017D-4B87-8100-4CBE99B7EA34}" srcOrd="0" destOrd="0" presId="urn:microsoft.com/office/officeart/2008/layout/HalfCircleOrganizationChart"/>
    <dgm:cxn modelId="{01EA70D5-37DF-437E-87C0-A48BA11E4AF1}" type="presParOf" srcId="{FE539C8C-FDC7-4BEB-BB36-36DE3EEFC6E0}" destId="{18773D9D-3AAD-4EFA-9EFD-D61EF09149F5}" srcOrd="1" destOrd="0" presId="urn:microsoft.com/office/officeart/2008/layout/HalfCircleOrganizationChart"/>
    <dgm:cxn modelId="{3413D0E5-F4F9-4F3D-8A31-0B674358D5DA}" type="presParOf" srcId="{FE539C8C-FDC7-4BEB-BB36-36DE3EEFC6E0}" destId="{916E53E1-8B03-4809-B5C5-6FB6E56560B0}" srcOrd="2" destOrd="0" presId="urn:microsoft.com/office/officeart/2008/layout/HalfCircleOrganizationChart"/>
    <dgm:cxn modelId="{BC858934-95C7-4116-B098-41521CD2757A}" type="presParOf" srcId="{FE539C8C-FDC7-4BEB-BB36-36DE3EEFC6E0}" destId="{5B42AA15-1D01-474B-9DC0-7BFFF0740F54}" srcOrd="3" destOrd="0" presId="urn:microsoft.com/office/officeart/2008/layout/HalfCircleOrganizationChart"/>
    <dgm:cxn modelId="{A077B70F-D0DC-46BA-A54B-2AEB3F065ABD}" type="presParOf" srcId="{4B0B263E-925A-4294-BF8E-7FA036FB2AC5}" destId="{BCD2CA41-71EF-42C9-94D4-412B9A00E94A}" srcOrd="1" destOrd="0" presId="urn:microsoft.com/office/officeart/2008/layout/HalfCircleOrganizationChart"/>
    <dgm:cxn modelId="{FC1EDB3D-F283-4A64-89AF-CCCC093563D8}" type="presParOf" srcId="{4B0B263E-925A-4294-BF8E-7FA036FB2AC5}" destId="{EA377F4D-565B-4523-A4D2-76F291117888}" srcOrd="2" destOrd="0" presId="urn:microsoft.com/office/officeart/2008/layout/HalfCircleOrganizationChart"/>
    <dgm:cxn modelId="{E042F09F-69EE-4DD8-BEBF-ECF68FDB859B}" type="presParOf" srcId="{6EAB3D28-8AEC-4CB1-820D-6F0BAAB94BEC}" destId="{A4766B68-CFDA-490A-B14B-2EE5EAFE1E71}" srcOrd="2" destOrd="0" presId="urn:microsoft.com/office/officeart/2008/layout/HalfCircleOrganizationChart"/>
    <dgm:cxn modelId="{ECA02948-C3C2-4A0B-8832-2A7B74E18A76}" type="presParOf" srcId="{6EAB3D28-8AEC-4CB1-820D-6F0BAAB94BEC}" destId="{FA684A6F-25F8-4AE7-9383-DBDDCDFCABD9}" srcOrd="3" destOrd="0" presId="urn:microsoft.com/office/officeart/2008/layout/HalfCircleOrganizationChart"/>
    <dgm:cxn modelId="{80561BE4-503B-45B4-960A-12C288245EA1}" type="presParOf" srcId="{FA684A6F-25F8-4AE7-9383-DBDDCDFCABD9}" destId="{84FF29FF-3E5E-4EE1-923B-C46237622289}" srcOrd="0" destOrd="0" presId="urn:microsoft.com/office/officeart/2008/layout/HalfCircleOrganizationChart"/>
    <dgm:cxn modelId="{766CC8F2-2224-4928-8582-141DDFFC34BE}" type="presParOf" srcId="{84FF29FF-3E5E-4EE1-923B-C46237622289}" destId="{23F34046-E0FF-48B5-A643-505AE934390C}" srcOrd="0" destOrd="0" presId="urn:microsoft.com/office/officeart/2008/layout/HalfCircleOrganizationChart"/>
    <dgm:cxn modelId="{963D0780-5ACD-4DB3-BE39-8A9CAD3E6F0B}" type="presParOf" srcId="{84FF29FF-3E5E-4EE1-923B-C46237622289}" destId="{EDAD7174-5676-475D-9F6B-F5FEF839527C}" srcOrd="1" destOrd="0" presId="urn:microsoft.com/office/officeart/2008/layout/HalfCircleOrganizationChart"/>
    <dgm:cxn modelId="{2BC9497E-67D1-4B9A-859D-008457B1BF82}" type="presParOf" srcId="{84FF29FF-3E5E-4EE1-923B-C46237622289}" destId="{0D89DB1A-21D2-43B2-B3B4-14A18C7A5F21}" srcOrd="2" destOrd="0" presId="urn:microsoft.com/office/officeart/2008/layout/HalfCircleOrganizationChart"/>
    <dgm:cxn modelId="{AACF238B-E491-402E-944B-565E5D63C1AE}" type="presParOf" srcId="{84FF29FF-3E5E-4EE1-923B-C46237622289}" destId="{7FE361C1-A603-47AE-9414-04F7652F6938}" srcOrd="3" destOrd="0" presId="urn:microsoft.com/office/officeart/2008/layout/HalfCircleOrganizationChart"/>
    <dgm:cxn modelId="{998C98C4-5D39-498B-8B10-AADE490FD1D6}" type="presParOf" srcId="{FA684A6F-25F8-4AE7-9383-DBDDCDFCABD9}" destId="{4DDCBA53-587C-4EFC-973E-5A05C6EC74A7}" srcOrd="1" destOrd="0" presId="urn:microsoft.com/office/officeart/2008/layout/HalfCircleOrganizationChart"/>
    <dgm:cxn modelId="{FD53C9EE-CB11-4494-A142-DA9FD03185E2}" type="presParOf" srcId="{FA684A6F-25F8-4AE7-9383-DBDDCDFCABD9}" destId="{9FC0A332-D193-4899-BC56-E6150B99152E}" srcOrd="2" destOrd="0" presId="urn:microsoft.com/office/officeart/2008/layout/HalfCircleOrganizationChart"/>
    <dgm:cxn modelId="{45A2329C-E395-4796-8B0B-55B16D536CDC}" type="presParOf" srcId="{6EAB3D28-8AEC-4CB1-820D-6F0BAAB94BEC}" destId="{2B252BF1-BCB2-40BF-B1B6-E3F5E7444394}" srcOrd="4" destOrd="0" presId="urn:microsoft.com/office/officeart/2008/layout/HalfCircleOrganizationChart"/>
    <dgm:cxn modelId="{4B4F2263-D715-4C93-9B9F-1EDB9DCFCE69}" type="presParOf" srcId="{6EAB3D28-8AEC-4CB1-820D-6F0BAAB94BEC}" destId="{3411FA31-7A28-4075-91DD-A770F5E461D6}" srcOrd="5" destOrd="0" presId="urn:microsoft.com/office/officeart/2008/layout/HalfCircleOrganizationChart"/>
    <dgm:cxn modelId="{3FA330D7-DD18-4C72-97D2-EDA2B327C996}" type="presParOf" srcId="{3411FA31-7A28-4075-91DD-A770F5E461D6}" destId="{12F4B793-F695-4D86-BACF-5A803C0D690E}" srcOrd="0" destOrd="0" presId="urn:microsoft.com/office/officeart/2008/layout/HalfCircleOrganizationChart"/>
    <dgm:cxn modelId="{1424E5DB-CFE6-4D02-8A2A-6C66502FA451}" type="presParOf" srcId="{12F4B793-F695-4D86-BACF-5A803C0D690E}" destId="{3A3E9886-E7DF-482C-8EC2-3BE991C8A9BE}" srcOrd="0" destOrd="0" presId="urn:microsoft.com/office/officeart/2008/layout/HalfCircleOrganizationChart"/>
    <dgm:cxn modelId="{D0FDA051-D776-4936-9D19-F987D2DCD57E}" type="presParOf" srcId="{12F4B793-F695-4D86-BACF-5A803C0D690E}" destId="{62822BE3-80E3-409A-88C6-25F0E2E4BF1A}" srcOrd="1" destOrd="0" presId="urn:microsoft.com/office/officeart/2008/layout/HalfCircleOrganizationChart"/>
    <dgm:cxn modelId="{DEEBF0F1-2062-4112-85A3-8F058D3E54CE}" type="presParOf" srcId="{12F4B793-F695-4D86-BACF-5A803C0D690E}" destId="{BD123748-3CEA-4D3B-BB73-D63DC39AC3E5}" srcOrd="2" destOrd="0" presId="urn:microsoft.com/office/officeart/2008/layout/HalfCircleOrganizationChart"/>
    <dgm:cxn modelId="{E9520899-2F83-4AB7-8FBA-E687896C128F}" type="presParOf" srcId="{12F4B793-F695-4D86-BACF-5A803C0D690E}" destId="{26463C9D-25C8-423C-BEFC-18B7267CB225}" srcOrd="3" destOrd="0" presId="urn:microsoft.com/office/officeart/2008/layout/HalfCircleOrganizationChart"/>
    <dgm:cxn modelId="{FE0C736C-BD2D-46E4-8A2A-5E552AA4154F}" type="presParOf" srcId="{3411FA31-7A28-4075-91DD-A770F5E461D6}" destId="{C1C7037C-1A27-445D-A063-FD6311D16803}" srcOrd="1" destOrd="0" presId="urn:microsoft.com/office/officeart/2008/layout/HalfCircleOrganizationChart"/>
    <dgm:cxn modelId="{6F2E9B07-C748-494E-847E-55EFEFB16322}" type="presParOf" srcId="{3411FA31-7A28-4075-91DD-A770F5E461D6}" destId="{54BF0C19-2AC4-4E90-A614-ACB4DFE2566E}" srcOrd="2" destOrd="0" presId="urn:microsoft.com/office/officeart/2008/layout/HalfCircleOrganizationChart"/>
    <dgm:cxn modelId="{833493A9-6A1B-435B-AD2B-C17C8693F044}" type="presParOf" srcId="{6EAB3D28-8AEC-4CB1-820D-6F0BAAB94BEC}" destId="{30E4F2A3-D8C7-44F7-8D9D-ADD591629649}" srcOrd="6" destOrd="0" presId="urn:microsoft.com/office/officeart/2008/layout/HalfCircleOrganizationChart"/>
    <dgm:cxn modelId="{1B592661-4042-447C-B123-8A07CBAF6849}" type="presParOf" srcId="{6EAB3D28-8AEC-4CB1-820D-6F0BAAB94BEC}" destId="{389750E4-A96C-4AB4-9ADD-9E9DA0CE7593}" srcOrd="7" destOrd="0" presId="urn:microsoft.com/office/officeart/2008/layout/HalfCircleOrganizationChart"/>
    <dgm:cxn modelId="{85B38381-EA49-420F-A3A3-45620925B579}" type="presParOf" srcId="{389750E4-A96C-4AB4-9ADD-9E9DA0CE7593}" destId="{D084D15A-80B6-475A-BB5D-73D6C3C8C8BF}" srcOrd="0" destOrd="0" presId="urn:microsoft.com/office/officeart/2008/layout/HalfCircleOrganizationChart"/>
    <dgm:cxn modelId="{10854B77-FC97-438F-9E9D-CF231E4D332C}" type="presParOf" srcId="{D084D15A-80B6-475A-BB5D-73D6C3C8C8BF}" destId="{30DBB49E-708A-4A3B-92B8-7CC19B5E4B76}" srcOrd="0" destOrd="0" presId="urn:microsoft.com/office/officeart/2008/layout/HalfCircleOrganizationChart"/>
    <dgm:cxn modelId="{94B7F540-EF3C-4577-94B0-D22047A6482C}" type="presParOf" srcId="{D084D15A-80B6-475A-BB5D-73D6C3C8C8BF}" destId="{AE3D0419-E476-432E-9D82-F99F52221F70}" srcOrd="1" destOrd="0" presId="urn:microsoft.com/office/officeart/2008/layout/HalfCircleOrganizationChart"/>
    <dgm:cxn modelId="{22A3A360-C2EC-4CCA-9E9C-C5C978C77737}" type="presParOf" srcId="{D084D15A-80B6-475A-BB5D-73D6C3C8C8BF}" destId="{A9E8C976-A327-4476-AB8B-B63420AF4362}" srcOrd="2" destOrd="0" presId="urn:microsoft.com/office/officeart/2008/layout/HalfCircleOrganizationChart"/>
    <dgm:cxn modelId="{B0EBECE6-37B3-46C6-ACAD-1F54DC7B382C}" type="presParOf" srcId="{D084D15A-80B6-475A-BB5D-73D6C3C8C8BF}" destId="{57409D3C-99AD-4F4B-A5AF-B4512DEF8E44}" srcOrd="3" destOrd="0" presId="urn:microsoft.com/office/officeart/2008/layout/HalfCircleOrganizationChart"/>
    <dgm:cxn modelId="{2DBC53E0-3580-40A0-B6A4-937CD3459A71}" type="presParOf" srcId="{389750E4-A96C-4AB4-9ADD-9E9DA0CE7593}" destId="{1459709B-0AE4-47A8-B36A-E05C68EB5CA7}" srcOrd="1" destOrd="0" presId="urn:microsoft.com/office/officeart/2008/layout/HalfCircleOrganizationChart"/>
    <dgm:cxn modelId="{CAC91237-CB52-4215-9FBD-716A09A1A6C7}" type="presParOf" srcId="{389750E4-A96C-4AB4-9ADD-9E9DA0CE7593}" destId="{B28C4C1D-27EF-4F1A-B17E-9E0136602CD6}" srcOrd="2" destOrd="0" presId="urn:microsoft.com/office/officeart/2008/layout/HalfCircleOrganizationChart"/>
    <dgm:cxn modelId="{F90B9A6F-1E1C-43FC-97A9-9CA7D841E940}" type="presParOf" srcId="{6EAB3D28-8AEC-4CB1-820D-6F0BAAB94BEC}" destId="{1294D6C3-A39B-42E4-BE51-C2E86C5BBE0E}" srcOrd="8" destOrd="0" presId="urn:microsoft.com/office/officeart/2008/layout/HalfCircleOrganizationChart"/>
    <dgm:cxn modelId="{39DBB82A-6EE1-4D7D-A027-1A952D575D30}" type="presParOf" srcId="{6EAB3D28-8AEC-4CB1-820D-6F0BAAB94BEC}" destId="{EB667259-2DE4-4D89-B291-8D154F174CB0}" srcOrd="9" destOrd="0" presId="urn:microsoft.com/office/officeart/2008/layout/HalfCircleOrganizationChart"/>
    <dgm:cxn modelId="{FE651915-1DBF-4772-9B40-DFB3F5E4CB52}" type="presParOf" srcId="{EB667259-2DE4-4D89-B291-8D154F174CB0}" destId="{3EC637A0-54D4-4BA2-BAB3-8D5FAA351449}" srcOrd="0" destOrd="0" presId="urn:microsoft.com/office/officeart/2008/layout/HalfCircleOrganizationChart"/>
    <dgm:cxn modelId="{475512C5-F340-4F9B-875E-5E48A25F07FD}" type="presParOf" srcId="{3EC637A0-54D4-4BA2-BAB3-8D5FAA351449}" destId="{6AB9AEB0-AEC7-4627-9DE7-F15346BC918C}" srcOrd="0" destOrd="0" presId="urn:microsoft.com/office/officeart/2008/layout/HalfCircleOrganizationChart"/>
    <dgm:cxn modelId="{A4467989-9AA3-492F-A21F-1B49B7F12293}" type="presParOf" srcId="{3EC637A0-54D4-4BA2-BAB3-8D5FAA351449}" destId="{4218C1A3-672E-4A2F-9F1C-70464DBD661C}" srcOrd="1" destOrd="0" presId="urn:microsoft.com/office/officeart/2008/layout/HalfCircleOrganizationChart"/>
    <dgm:cxn modelId="{A6BCEABD-7049-4493-B96C-1CDBC77E2BF1}" type="presParOf" srcId="{3EC637A0-54D4-4BA2-BAB3-8D5FAA351449}" destId="{0A6E299A-2592-4587-BCF2-9BF0B418E738}" srcOrd="2" destOrd="0" presId="urn:microsoft.com/office/officeart/2008/layout/HalfCircleOrganizationChart"/>
    <dgm:cxn modelId="{3B25F04C-4CB6-4806-8F5C-96CE32C5635C}" type="presParOf" srcId="{3EC637A0-54D4-4BA2-BAB3-8D5FAA351449}" destId="{6E6C5C45-A41B-4F47-A866-D3F09ABEB7BC}" srcOrd="3" destOrd="0" presId="urn:microsoft.com/office/officeart/2008/layout/HalfCircleOrganizationChart"/>
    <dgm:cxn modelId="{A8E3A529-77EB-4ABC-AA37-FA48E60BC233}" type="presParOf" srcId="{EB667259-2DE4-4D89-B291-8D154F174CB0}" destId="{A934E3C4-F0BC-4610-845F-06A3B95768CF}" srcOrd="1" destOrd="0" presId="urn:microsoft.com/office/officeart/2008/layout/HalfCircleOrganizationChart"/>
    <dgm:cxn modelId="{57BB425C-7B01-4C4C-8309-C08390D39AF8}" type="presParOf" srcId="{EB667259-2DE4-4D89-B291-8D154F174CB0}" destId="{84798EFB-9F00-4DD4-9E6D-263596556F08}" srcOrd="2" destOrd="0" presId="urn:microsoft.com/office/officeart/2008/layout/HalfCircleOrganizationChart"/>
    <dgm:cxn modelId="{2A1B0395-DB93-4CA4-BBEC-21146D973290}" type="presParOf" srcId="{6EAB3D28-8AEC-4CB1-820D-6F0BAAB94BEC}" destId="{0CEC51F2-8D3A-49B2-9E40-346DAA1FD3F8}" srcOrd="10" destOrd="0" presId="urn:microsoft.com/office/officeart/2008/layout/HalfCircleOrganizationChart"/>
    <dgm:cxn modelId="{2892743F-DFFE-439C-9990-BE156AC9AFC0}" type="presParOf" srcId="{6EAB3D28-8AEC-4CB1-820D-6F0BAAB94BEC}" destId="{B5031843-CEA0-4FA2-B375-FD8012A7FF42}" srcOrd="11" destOrd="0" presId="urn:microsoft.com/office/officeart/2008/layout/HalfCircleOrganizationChart"/>
    <dgm:cxn modelId="{4BF20F2C-E6EC-4584-BB40-6FB8BA5BB725}" type="presParOf" srcId="{B5031843-CEA0-4FA2-B375-FD8012A7FF42}" destId="{CE2AD0D7-4CAE-428F-9E6D-D612007751A1}" srcOrd="0" destOrd="0" presId="urn:microsoft.com/office/officeart/2008/layout/HalfCircleOrganizationChart"/>
    <dgm:cxn modelId="{52C64D85-7AB0-4A08-8383-ED886CFA3866}" type="presParOf" srcId="{CE2AD0D7-4CAE-428F-9E6D-D612007751A1}" destId="{7744933C-DE6F-45C4-8BF9-4AAD6AB5A16A}" srcOrd="0" destOrd="0" presId="urn:microsoft.com/office/officeart/2008/layout/HalfCircleOrganizationChart"/>
    <dgm:cxn modelId="{6CA754BB-6899-463D-9B33-16269AE17C5D}" type="presParOf" srcId="{CE2AD0D7-4CAE-428F-9E6D-D612007751A1}" destId="{EEFFA529-3E3B-4639-B52B-828E951B8827}" srcOrd="1" destOrd="0" presId="urn:microsoft.com/office/officeart/2008/layout/HalfCircleOrganizationChart"/>
    <dgm:cxn modelId="{E315A934-DD27-413D-8A17-63E17150E0B0}" type="presParOf" srcId="{CE2AD0D7-4CAE-428F-9E6D-D612007751A1}" destId="{F6287557-24FD-4AEC-88D4-372C6CFD3A50}" srcOrd="2" destOrd="0" presId="urn:microsoft.com/office/officeart/2008/layout/HalfCircleOrganizationChart"/>
    <dgm:cxn modelId="{062D266F-9ADC-4629-8670-1BDCC7FB37F6}" type="presParOf" srcId="{CE2AD0D7-4CAE-428F-9E6D-D612007751A1}" destId="{8ECE8128-BBA1-4393-B3C0-C38B94885943}" srcOrd="3" destOrd="0" presId="urn:microsoft.com/office/officeart/2008/layout/HalfCircleOrganizationChart"/>
    <dgm:cxn modelId="{2F129F0C-9B91-4BC4-B6F0-8EF5DDC628CE}" type="presParOf" srcId="{B5031843-CEA0-4FA2-B375-FD8012A7FF42}" destId="{36889828-AB7E-4F8D-A36C-717DFEFBC96B}" srcOrd="1" destOrd="0" presId="urn:microsoft.com/office/officeart/2008/layout/HalfCircleOrganizationChart"/>
    <dgm:cxn modelId="{DE582A28-C1B7-41F4-B9A3-C66D1A9DB7AC}" type="presParOf" srcId="{B5031843-CEA0-4FA2-B375-FD8012A7FF42}" destId="{4F5D14AD-9C02-4952-A147-D755C4AA6784}" srcOrd="2" destOrd="0" presId="urn:microsoft.com/office/officeart/2008/layout/HalfCircleOrganizationChart"/>
    <dgm:cxn modelId="{8022B0DE-7C86-40B5-8E01-05DA5861FAB0}" type="presParOf" srcId="{6EAB3D28-8AEC-4CB1-820D-6F0BAAB94BEC}" destId="{959D2844-EE6A-4108-8168-234EA9BF786F}" srcOrd="12" destOrd="0" presId="urn:microsoft.com/office/officeart/2008/layout/HalfCircleOrganizationChart"/>
    <dgm:cxn modelId="{2DA58F80-51F7-4173-B656-1FADC5ED2F41}" type="presParOf" srcId="{6EAB3D28-8AEC-4CB1-820D-6F0BAAB94BEC}" destId="{22124B5D-87A5-4B09-8C94-36103E9B2764}" srcOrd="13" destOrd="0" presId="urn:microsoft.com/office/officeart/2008/layout/HalfCircleOrganizationChart"/>
    <dgm:cxn modelId="{0D37DA7A-A606-448A-9862-6BEA6D34DEF7}" type="presParOf" srcId="{22124B5D-87A5-4B09-8C94-36103E9B2764}" destId="{204CE290-D1F8-4DB1-BE44-A1A48C4147D2}" srcOrd="0" destOrd="0" presId="urn:microsoft.com/office/officeart/2008/layout/HalfCircleOrganizationChart"/>
    <dgm:cxn modelId="{55923136-3D88-4AC5-9A03-22FD5044EE62}" type="presParOf" srcId="{204CE290-D1F8-4DB1-BE44-A1A48C4147D2}" destId="{7557D423-E6D6-4237-8397-267C41FD9706}" srcOrd="0" destOrd="0" presId="urn:microsoft.com/office/officeart/2008/layout/HalfCircleOrganizationChart"/>
    <dgm:cxn modelId="{B4D837AF-3125-47C0-9BBC-DF68BCF7B3A5}" type="presParOf" srcId="{204CE290-D1F8-4DB1-BE44-A1A48C4147D2}" destId="{07C51F39-2128-4EAD-B728-847312A063A7}" srcOrd="1" destOrd="0" presId="urn:microsoft.com/office/officeart/2008/layout/HalfCircleOrganizationChart"/>
    <dgm:cxn modelId="{A7D8D6B5-0225-414C-B222-47C4ECB092F2}" type="presParOf" srcId="{204CE290-D1F8-4DB1-BE44-A1A48C4147D2}" destId="{762BD64B-EA3C-4B00-A953-D18B4217F6B6}" srcOrd="2" destOrd="0" presId="urn:microsoft.com/office/officeart/2008/layout/HalfCircleOrganizationChart"/>
    <dgm:cxn modelId="{A9522E5F-5E4B-4C24-BCF5-51F1DBC83940}" type="presParOf" srcId="{204CE290-D1F8-4DB1-BE44-A1A48C4147D2}" destId="{608E0E73-5AB8-4613-BAC0-5D22E92990B9}" srcOrd="3" destOrd="0" presId="urn:microsoft.com/office/officeart/2008/layout/HalfCircleOrganizationChart"/>
    <dgm:cxn modelId="{CF1748AD-B9AB-4A3B-A0D0-4F4633EBF828}" type="presParOf" srcId="{22124B5D-87A5-4B09-8C94-36103E9B2764}" destId="{1CB2B54D-C205-4DF8-AECA-41CAF2EC5D57}" srcOrd="1" destOrd="0" presId="urn:microsoft.com/office/officeart/2008/layout/HalfCircleOrganizationChart"/>
    <dgm:cxn modelId="{628F05DA-C90E-4771-9F78-E243F6D5CD7D}" type="presParOf" srcId="{22124B5D-87A5-4B09-8C94-36103E9B2764}" destId="{132DE4AA-A3B4-4C79-A472-5453639A1A98}" srcOrd="2" destOrd="0" presId="urn:microsoft.com/office/officeart/2008/layout/HalfCircleOrganizationChart"/>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243807-169A-4AE8-8FC0-DE5797F152E2}" type="doc">
      <dgm:prSet loTypeId="urn:microsoft.com/office/officeart/2008/layout/HalfCircleOrganizationChart" loCatId="hierarchy" qsTypeId="urn:microsoft.com/office/officeart/2005/8/quickstyle/3d5" qsCatId="3D" csTypeId="urn:microsoft.com/office/officeart/2005/8/colors/colorful3" csCatId="colorful" phldr="1"/>
      <dgm:spPr/>
      <dgm:t>
        <a:bodyPr/>
        <a:lstStyle/>
        <a:p>
          <a:endParaRPr lang="en-US"/>
        </a:p>
      </dgm:t>
    </dgm:pt>
    <dgm:pt modelId="{333351D2-C7DE-455C-8C90-92DE4E0A8602}">
      <dgm:prSet phldrT="[Text]" custT="1"/>
      <dgm:spPr/>
      <dgm:t>
        <a:bodyPr/>
        <a:lstStyle/>
        <a:p>
          <a:r>
            <a:rPr lang="en-US" sz="1000" b="1" dirty="0">
              <a:latin typeface="Raleway" pitchFamily="2" charset="0"/>
            </a:rPr>
            <a:t>Stress Testing </a:t>
          </a:r>
        </a:p>
        <a:p>
          <a:r>
            <a:rPr lang="en-US" sz="1000" b="1" dirty="0">
              <a:latin typeface="Raleway" pitchFamily="2" charset="0"/>
            </a:rPr>
            <a:t>Engine</a:t>
          </a:r>
          <a:endParaRPr lang="en-US" sz="1000" dirty="0"/>
        </a:p>
      </dgm:t>
    </dgm:pt>
    <dgm:pt modelId="{EF76CD78-F7B2-4498-A3D1-CDE7D5DFF184}" type="sibTrans" cxnId="{A8FE4DA8-4882-4D58-89FF-2757C9B44131}">
      <dgm:prSet/>
      <dgm:spPr/>
      <dgm:t>
        <a:bodyPr/>
        <a:lstStyle/>
        <a:p>
          <a:endParaRPr lang="en-US" sz="1000"/>
        </a:p>
      </dgm:t>
    </dgm:pt>
    <dgm:pt modelId="{7A8470EA-E1B6-4079-B9A6-C3C82AC39901}" type="parTrans" cxnId="{A8FE4DA8-4882-4D58-89FF-2757C9B44131}">
      <dgm:prSet/>
      <dgm:spPr/>
      <dgm:t>
        <a:bodyPr/>
        <a:lstStyle/>
        <a:p>
          <a:endParaRPr lang="en-US" sz="1000"/>
        </a:p>
      </dgm:t>
    </dgm:pt>
    <dgm:pt modelId="{BD36C393-C2B6-47AA-836E-93243BD014B7}" type="asst">
      <dgm:prSet phldrT="[Text]" custT="1"/>
      <dgm:spPr/>
      <dgm:t>
        <a:bodyPr/>
        <a:lstStyle/>
        <a:p>
          <a:r>
            <a:rPr lang="en-US" sz="1000" b="1" dirty="0">
              <a:latin typeface="Raleway" pitchFamily="2" charset="0"/>
            </a:rPr>
            <a:t>Capital Planning &amp; </a:t>
          </a:r>
        </a:p>
        <a:p>
          <a:r>
            <a:rPr lang="en-US" sz="1000" b="1" dirty="0">
              <a:latin typeface="Raleway" pitchFamily="2" charset="0"/>
            </a:rPr>
            <a:t>Pillar II Computation</a:t>
          </a:r>
          <a:endParaRPr lang="en-US" sz="1000" dirty="0"/>
        </a:p>
      </dgm:t>
    </dgm:pt>
    <dgm:pt modelId="{9755732C-1CDD-4519-AA5D-A973CEF0239B}" type="sibTrans" cxnId="{69332F1F-0AD5-4BD5-B19E-75013FE073DD}">
      <dgm:prSet/>
      <dgm:spPr/>
      <dgm:t>
        <a:bodyPr/>
        <a:lstStyle/>
        <a:p>
          <a:endParaRPr lang="en-US" sz="1000"/>
        </a:p>
      </dgm:t>
    </dgm:pt>
    <dgm:pt modelId="{CD00D4A5-D11B-42BA-8E31-A298EE8B7A61}" type="parTrans" cxnId="{69332F1F-0AD5-4BD5-B19E-75013FE073DD}">
      <dgm:prSet/>
      <dgm:spPr/>
      <dgm:t>
        <a:bodyPr/>
        <a:lstStyle/>
        <a:p>
          <a:endParaRPr lang="en-US" sz="1000"/>
        </a:p>
      </dgm:t>
    </dgm:pt>
    <dgm:pt modelId="{0744E35B-FD72-46EC-9CEC-A26DC268F0C4}" type="asst">
      <dgm:prSet phldrT="[Text]" custT="1"/>
      <dgm:spPr/>
      <dgm:t>
        <a:bodyPr/>
        <a:lstStyle/>
        <a:p>
          <a:r>
            <a:rPr lang="en-US" sz="1000" b="1" dirty="0">
              <a:latin typeface="Raleway" pitchFamily="2" charset="0"/>
            </a:rPr>
            <a:t>IFRS 9 – Framework </a:t>
          </a:r>
        </a:p>
        <a:p>
          <a:r>
            <a:rPr lang="en-US" sz="1000" b="1" dirty="0">
              <a:latin typeface="Raleway" pitchFamily="2" charset="0"/>
            </a:rPr>
            <a:t>&amp; Exp. Credit Loss</a:t>
          </a:r>
          <a:endParaRPr lang="en-US" sz="1000" dirty="0"/>
        </a:p>
      </dgm:t>
    </dgm:pt>
    <dgm:pt modelId="{31BBF6ED-1AB8-49F5-A115-E44D8E1F3A7C}" type="sibTrans" cxnId="{F4D3CD19-C609-40B7-8F12-EB245DAEC27A}">
      <dgm:prSet/>
      <dgm:spPr/>
      <dgm:t>
        <a:bodyPr/>
        <a:lstStyle/>
        <a:p>
          <a:endParaRPr lang="en-US" sz="1000"/>
        </a:p>
      </dgm:t>
    </dgm:pt>
    <dgm:pt modelId="{F3419DFE-2623-4864-92D1-66D2ED721B99}" type="parTrans" cxnId="{F4D3CD19-C609-40B7-8F12-EB245DAEC27A}">
      <dgm:prSet/>
      <dgm:spPr/>
      <dgm:t>
        <a:bodyPr/>
        <a:lstStyle/>
        <a:p>
          <a:endParaRPr lang="en-US" sz="1000"/>
        </a:p>
      </dgm:t>
    </dgm:pt>
    <dgm:pt modelId="{98292CFA-F98C-462B-883B-C84F6DEFD95A}" type="asst">
      <dgm:prSet phldrT="[Text]" custT="1"/>
      <dgm:spPr/>
      <dgm:t>
        <a:bodyPr/>
        <a:lstStyle/>
        <a:p>
          <a:r>
            <a:rPr lang="en-US" sz="1000" b="1" dirty="0">
              <a:latin typeface="Raleway" pitchFamily="2" charset="0"/>
            </a:rPr>
            <a:t>ALM: Liquidity &amp; </a:t>
          </a:r>
        </a:p>
        <a:p>
          <a:r>
            <a:rPr lang="en-US" sz="1000" b="1" dirty="0">
              <a:latin typeface="Raleway" pitchFamily="2" charset="0"/>
            </a:rPr>
            <a:t>Balance Sheet  Management</a:t>
          </a:r>
          <a:endParaRPr lang="en-US" sz="1000" dirty="0"/>
        </a:p>
      </dgm:t>
    </dgm:pt>
    <dgm:pt modelId="{18425246-F21B-48F1-8995-3AB1591FA703}" type="sibTrans" cxnId="{327AE2A5-BFD0-4554-A60B-9966E3FA87F1}">
      <dgm:prSet/>
      <dgm:spPr/>
      <dgm:t>
        <a:bodyPr/>
        <a:lstStyle/>
        <a:p>
          <a:endParaRPr lang="en-US" sz="1000"/>
        </a:p>
      </dgm:t>
    </dgm:pt>
    <dgm:pt modelId="{2DC05B9E-6B18-4E02-BABC-4C8376CA3AA0}" type="parTrans" cxnId="{327AE2A5-BFD0-4554-A60B-9966E3FA87F1}">
      <dgm:prSet/>
      <dgm:spPr/>
      <dgm:t>
        <a:bodyPr/>
        <a:lstStyle/>
        <a:p>
          <a:endParaRPr lang="en-US" sz="1000"/>
        </a:p>
      </dgm:t>
    </dgm:pt>
    <dgm:pt modelId="{976ED11A-6C84-4C41-B6F7-890956AA9B1F}" type="asst">
      <dgm:prSet phldrT="[Text]" custT="1"/>
      <dgm:spPr/>
      <dgm:t>
        <a:bodyPr/>
        <a:lstStyle/>
        <a:p>
          <a:r>
            <a:rPr lang="en-US" sz="1000" b="1" dirty="0">
              <a:latin typeface="Raleway" pitchFamily="2" charset="0"/>
            </a:rPr>
            <a:t>Regulatory Capital </a:t>
          </a:r>
        </a:p>
        <a:p>
          <a:r>
            <a:rPr lang="en-US" sz="1000" b="1" dirty="0">
              <a:latin typeface="Raleway" pitchFamily="2" charset="0"/>
            </a:rPr>
            <a:t>Calculation &amp;  Reporting</a:t>
          </a:r>
          <a:endParaRPr lang="en-US" sz="1000" dirty="0"/>
        </a:p>
      </dgm:t>
    </dgm:pt>
    <dgm:pt modelId="{B60CF4A7-1971-46BB-A132-397064D487BB}" type="sibTrans" cxnId="{FCDE9446-47E9-431C-A846-AE893339678A}">
      <dgm:prSet/>
      <dgm:spPr/>
      <dgm:t>
        <a:bodyPr/>
        <a:lstStyle/>
        <a:p>
          <a:endParaRPr lang="en-US" sz="1000"/>
        </a:p>
      </dgm:t>
    </dgm:pt>
    <dgm:pt modelId="{E97F3190-F492-4358-9D1B-98F7470DE474}" type="parTrans" cxnId="{FCDE9446-47E9-431C-A846-AE893339678A}">
      <dgm:prSet/>
      <dgm:spPr/>
      <dgm:t>
        <a:bodyPr/>
        <a:lstStyle/>
        <a:p>
          <a:endParaRPr lang="en-US" sz="1000"/>
        </a:p>
      </dgm:t>
    </dgm:pt>
    <dgm:pt modelId="{F50B3D0E-AA65-474E-8C4A-FF36BD84ED1C}" type="asst">
      <dgm:prSet phldrT="[Text]" custT="1"/>
      <dgm:spPr/>
      <dgm:t>
        <a:bodyPr/>
        <a:lstStyle/>
        <a:p>
          <a:r>
            <a:rPr lang="en-US" sz="1000" b="1" dirty="0">
              <a:latin typeface="Raleway" pitchFamily="2" charset="0"/>
            </a:rPr>
            <a:t>Risk Based Pricing &amp; </a:t>
          </a:r>
        </a:p>
        <a:p>
          <a:r>
            <a:rPr lang="en-US" sz="1000" b="1" dirty="0">
              <a:latin typeface="Raleway" pitchFamily="2" charset="0"/>
            </a:rPr>
            <a:t>RAROC Estimation</a:t>
          </a:r>
        </a:p>
      </dgm:t>
    </dgm:pt>
    <dgm:pt modelId="{5D59CF28-7416-4A6A-AFCE-D098AD136A45}" type="sibTrans" cxnId="{42CB2BEA-F560-4DD8-8747-CFA7A90E14AF}">
      <dgm:prSet/>
      <dgm:spPr/>
      <dgm:t>
        <a:bodyPr/>
        <a:lstStyle/>
        <a:p>
          <a:endParaRPr lang="en-US" sz="1000"/>
        </a:p>
      </dgm:t>
    </dgm:pt>
    <dgm:pt modelId="{434B9738-A42E-440C-94AF-DB94C1FFA8D7}" type="parTrans" cxnId="{42CB2BEA-F560-4DD8-8747-CFA7A90E14AF}">
      <dgm:prSet/>
      <dgm:spPr/>
      <dgm:t>
        <a:bodyPr/>
        <a:lstStyle/>
        <a:p>
          <a:endParaRPr lang="en-US" sz="1000"/>
        </a:p>
      </dgm:t>
    </dgm:pt>
    <dgm:pt modelId="{2ABBA619-D079-4532-AB24-7065DA5C462D}" type="pres">
      <dgm:prSet presAssocID="{73243807-169A-4AE8-8FC0-DE5797F152E2}" presName="Name0" presStyleCnt="0">
        <dgm:presLayoutVars>
          <dgm:orgChart val="1"/>
          <dgm:chPref val="1"/>
          <dgm:dir/>
          <dgm:animOne val="branch"/>
          <dgm:animLvl val="lvl"/>
          <dgm:resizeHandles/>
        </dgm:presLayoutVars>
      </dgm:prSet>
      <dgm:spPr/>
    </dgm:pt>
    <dgm:pt modelId="{643F9FE3-7845-44EF-B808-73DC0E237CCF}" type="pres">
      <dgm:prSet presAssocID="{333351D2-C7DE-455C-8C90-92DE4E0A8602}" presName="hierRoot1" presStyleCnt="0">
        <dgm:presLayoutVars>
          <dgm:hierBranch val="init"/>
        </dgm:presLayoutVars>
      </dgm:prSet>
      <dgm:spPr/>
    </dgm:pt>
    <dgm:pt modelId="{5AD27204-5B12-4DE7-A99B-FF3F36425C47}" type="pres">
      <dgm:prSet presAssocID="{333351D2-C7DE-455C-8C90-92DE4E0A8602}" presName="rootComposite1" presStyleCnt="0"/>
      <dgm:spPr/>
    </dgm:pt>
    <dgm:pt modelId="{B1BD55A6-78CD-46F3-97CD-6C5E7F9957DB}" type="pres">
      <dgm:prSet presAssocID="{333351D2-C7DE-455C-8C90-92DE4E0A8602}" presName="rootText1" presStyleLbl="alignAcc1" presStyleIdx="0" presStyleCnt="0">
        <dgm:presLayoutVars>
          <dgm:chPref val="3"/>
        </dgm:presLayoutVars>
      </dgm:prSet>
      <dgm:spPr/>
    </dgm:pt>
    <dgm:pt modelId="{D7F1D294-7452-4D0A-B124-B8E0AA5EA53C}" type="pres">
      <dgm:prSet presAssocID="{333351D2-C7DE-455C-8C90-92DE4E0A8602}" presName="topArc1" presStyleLbl="parChTrans1D1" presStyleIdx="0" presStyleCnt="12"/>
      <dgm:spPr/>
    </dgm:pt>
    <dgm:pt modelId="{56CF904C-4713-4C36-821B-5B412F075A50}" type="pres">
      <dgm:prSet presAssocID="{333351D2-C7DE-455C-8C90-92DE4E0A8602}" presName="bottomArc1" presStyleLbl="parChTrans1D1" presStyleIdx="1" presStyleCnt="12"/>
      <dgm:spPr/>
    </dgm:pt>
    <dgm:pt modelId="{DB17142E-DD47-430D-A9EE-8A0AA9095F2F}" type="pres">
      <dgm:prSet presAssocID="{333351D2-C7DE-455C-8C90-92DE4E0A8602}" presName="topConnNode1" presStyleLbl="node1" presStyleIdx="0" presStyleCnt="0"/>
      <dgm:spPr/>
    </dgm:pt>
    <dgm:pt modelId="{532B6E59-C9DA-41D9-86D3-74CB7BCAF90C}" type="pres">
      <dgm:prSet presAssocID="{333351D2-C7DE-455C-8C90-92DE4E0A8602}" presName="hierChild2" presStyleCnt="0"/>
      <dgm:spPr/>
    </dgm:pt>
    <dgm:pt modelId="{D64E9F5D-4A94-453D-8EBA-A42AC4B64191}" type="pres">
      <dgm:prSet presAssocID="{333351D2-C7DE-455C-8C90-92DE4E0A8602}" presName="hierChild3" presStyleCnt="0"/>
      <dgm:spPr/>
    </dgm:pt>
    <dgm:pt modelId="{0B77F156-1A39-44A6-B5C9-F5AD7F0BB504}" type="pres">
      <dgm:prSet presAssocID="{CD00D4A5-D11B-42BA-8E31-A298EE8B7A61}" presName="Name101" presStyleLbl="parChTrans1D2" presStyleIdx="0" presStyleCnt="5"/>
      <dgm:spPr/>
    </dgm:pt>
    <dgm:pt modelId="{00028410-C5A6-4495-A108-189C6E38DFCF}" type="pres">
      <dgm:prSet presAssocID="{BD36C393-C2B6-47AA-836E-93243BD014B7}" presName="hierRoot3" presStyleCnt="0">
        <dgm:presLayoutVars>
          <dgm:hierBranch val="init"/>
        </dgm:presLayoutVars>
      </dgm:prSet>
      <dgm:spPr/>
    </dgm:pt>
    <dgm:pt modelId="{5C0BBECE-E081-4875-8FC0-7DE09118A684}" type="pres">
      <dgm:prSet presAssocID="{BD36C393-C2B6-47AA-836E-93243BD014B7}" presName="rootComposite3" presStyleCnt="0"/>
      <dgm:spPr/>
    </dgm:pt>
    <dgm:pt modelId="{3ECA1620-C2D7-4080-BC70-4DE31B8D3620}" type="pres">
      <dgm:prSet presAssocID="{BD36C393-C2B6-47AA-836E-93243BD014B7}" presName="rootText3" presStyleLbl="alignAcc1" presStyleIdx="0" presStyleCnt="0">
        <dgm:presLayoutVars>
          <dgm:chPref val="3"/>
        </dgm:presLayoutVars>
      </dgm:prSet>
      <dgm:spPr/>
    </dgm:pt>
    <dgm:pt modelId="{5C31FD24-27C2-47FE-B69E-DC3B6DD313E5}" type="pres">
      <dgm:prSet presAssocID="{BD36C393-C2B6-47AA-836E-93243BD014B7}" presName="topArc3" presStyleLbl="parChTrans1D1" presStyleIdx="2" presStyleCnt="12"/>
      <dgm:spPr/>
    </dgm:pt>
    <dgm:pt modelId="{93C41DE1-B94D-4EE5-8895-0741F9E74F47}" type="pres">
      <dgm:prSet presAssocID="{BD36C393-C2B6-47AA-836E-93243BD014B7}" presName="bottomArc3" presStyleLbl="parChTrans1D1" presStyleIdx="3" presStyleCnt="12"/>
      <dgm:spPr/>
    </dgm:pt>
    <dgm:pt modelId="{6019EE3A-D47C-447A-A18B-F7AB6979425D}" type="pres">
      <dgm:prSet presAssocID="{BD36C393-C2B6-47AA-836E-93243BD014B7}" presName="topConnNode3" presStyleLbl="asst1" presStyleIdx="0" presStyleCnt="0"/>
      <dgm:spPr/>
    </dgm:pt>
    <dgm:pt modelId="{B41BA926-2642-4601-9E9D-C704510A578E}" type="pres">
      <dgm:prSet presAssocID="{BD36C393-C2B6-47AA-836E-93243BD014B7}" presName="hierChild6" presStyleCnt="0"/>
      <dgm:spPr/>
    </dgm:pt>
    <dgm:pt modelId="{3010E4F7-0950-4038-A9DA-241B51A0AC36}" type="pres">
      <dgm:prSet presAssocID="{BD36C393-C2B6-47AA-836E-93243BD014B7}" presName="hierChild7" presStyleCnt="0"/>
      <dgm:spPr/>
    </dgm:pt>
    <dgm:pt modelId="{4653C46C-080D-4D78-A3D1-32A169DEFA41}" type="pres">
      <dgm:prSet presAssocID="{F3419DFE-2623-4864-92D1-66D2ED721B99}" presName="Name101" presStyleLbl="parChTrans1D2" presStyleIdx="1" presStyleCnt="5"/>
      <dgm:spPr/>
    </dgm:pt>
    <dgm:pt modelId="{37AD38EB-E24C-41A2-B5B9-0A7769E82F29}" type="pres">
      <dgm:prSet presAssocID="{0744E35B-FD72-46EC-9CEC-A26DC268F0C4}" presName="hierRoot3" presStyleCnt="0">
        <dgm:presLayoutVars>
          <dgm:hierBranch val="init"/>
        </dgm:presLayoutVars>
      </dgm:prSet>
      <dgm:spPr/>
    </dgm:pt>
    <dgm:pt modelId="{85EC1F2E-0DCB-4AD7-87FB-1A8FED11CF16}" type="pres">
      <dgm:prSet presAssocID="{0744E35B-FD72-46EC-9CEC-A26DC268F0C4}" presName="rootComposite3" presStyleCnt="0"/>
      <dgm:spPr/>
    </dgm:pt>
    <dgm:pt modelId="{0BD45357-125D-43CE-BDE1-E985E755A2C4}" type="pres">
      <dgm:prSet presAssocID="{0744E35B-FD72-46EC-9CEC-A26DC268F0C4}" presName="rootText3" presStyleLbl="alignAcc1" presStyleIdx="0" presStyleCnt="0">
        <dgm:presLayoutVars>
          <dgm:chPref val="3"/>
        </dgm:presLayoutVars>
      </dgm:prSet>
      <dgm:spPr/>
    </dgm:pt>
    <dgm:pt modelId="{27DF2045-8158-4097-AA5B-6BC1C94FC9D8}" type="pres">
      <dgm:prSet presAssocID="{0744E35B-FD72-46EC-9CEC-A26DC268F0C4}" presName="topArc3" presStyleLbl="parChTrans1D1" presStyleIdx="4" presStyleCnt="12"/>
      <dgm:spPr/>
    </dgm:pt>
    <dgm:pt modelId="{9B5CBF44-771F-437E-B2EC-01F6A7AE3A22}" type="pres">
      <dgm:prSet presAssocID="{0744E35B-FD72-46EC-9CEC-A26DC268F0C4}" presName="bottomArc3" presStyleLbl="parChTrans1D1" presStyleIdx="5" presStyleCnt="12"/>
      <dgm:spPr/>
    </dgm:pt>
    <dgm:pt modelId="{DD8F5720-4D46-495F-B117-897AA2A81695}" type="pres">
      <dgm:prSet presAssocID="{0744E35B-FD72-46EC-9CEC-A26DC268F0C4}" presName="topConnNode3" presStyleLbl="asst1" presStyleIdx="0" presStyleCnt="0"/>
      <dgm:spPr/>
    </dgm:pt>
    <dgm:pt modelId="{050A3F42-E583-495D-9ABC-189C3ADA94CD}" type="pres">
      <dgm:prSet presAssocID="{0744E35B-FD72-46EC-9CEC-A26DC268F0C4}" presName="hierChild6" presStyleCnt="0"/>
      <dgm:spPr/>
    </dgm:pt>
    <dgm:pt modelId="{37B5EB52-F222-4BE7-A330-19754F2AC999}" type="pres">
      <dgm:prSet presAssocID="{0744E35B-FD72-46EC-9CEC-A26DC268F0C4}" presName="hierChild7" presStyleCnt="0"/>
      <dgm:spPr/>
    </dgm:pt>
    <dgm:pt modelId="{305F79EA-6E54-41C7-8631-1E772611C2CA}" type="pres">
      <dgm:prSet presAssocID="{2DC05B9E-6B18-4E02-BABC-4C8376CA3AA0}" presName="Name101" presStyleLbl="parChTrans1D2" presStyleIdx="2" presStyleCnt="5"/>
      <dgm:spPr/>
    </dgm:pt>
    <dgm:pt modelId="{4297F90D-7321-439E-AAF5-35530A7ECD60}" type="pres">
      <dgm:prSet presAssocID="{98292CFA-F98C-462B-883B-C84F6DEFD95A}" presName="hierRoot3" presStyleCnt="0">
        <dgm:presLayoutVars>
          <dgm:hierBranch val="init"/>
        </dgm:presLayoutVars>
      </dgm:prSet>
      <dgm:spPr/>
    </dgm:pt>
    <dgm:pt modelId="{ABAE796E-D5AC-463B-B86F-F83E95F71206}" type="pres">
      <dgm:prSet presAssocID="{98292CFA-F98C-462B-883B-C84F6DEFD95A}" presName="rootComposite3" presStyleCnt="0"/>
      <dgm:spPr/>
    </dgm:pt>
    <dgm:pt modelId="{1ED2ADE8-FC81-4D84-868C-856D34E49FD2}" type="pres">
      <dgm:prSet presAssocID="{98292CFA-F98C-462B-883B-C84F6DEFD95A}" presName="rootText3" presStyleLbl="alignAcc1" presStyleIdx="0" presStyleCnt="0">
        <dgm:presLayoutVars>
          <dgm:chPref val="3"/>
        </dgm:presLayoutVars>
      </dgm:prSet>
      <dgm:spPr/>
    </dgm:pt>
    <dgm:pt modelId="{3A6F7857-59B0-4C4E-B36F-33693BAB17DE}" type="pres">
      <dgm:prSet presAssocID="{98292CFA-F98C-462B-883B-C84F6DEFD95A}" presName="topArc3" presStyleLbl="parChTrans1D1" presStyleIdx="6" presStyleCnt="12"/>
      <dgm:spPr/>
    </dgm:pt>
    <dgm:pt modelId="{2B4523C2-B61D-49B6-9852-6C224D0AE835}" type="pres">
      <dgm:prSet presAssocID="{98292CFA-F98C-462B-883B-C84F6DEFD95A}" presName="bottomArc3" presStyleLbl="parChTrans1D1" presStyleIdx="7" presStyleCnt="12"/>
      <dgm:spPr/>
    </dgm:pt>
    <dgm:pt modelId="{5399FD09-65FA-4316-B935-52AECE63C367}" type="pres">
      <dgm:prSet presAssocID="{98292CFA-F98C-462B-883B-C84F6DEFD95A}" presName="topConnNode3" presStyleLbl="asst1" presStyleIdx="0" presStyleCnt="0"/>
      <dgm:spPr/>
    </dgm:pt>
    <dgm:pt modelId="{BA035127-1B01-4AD4-94F7-E9FB8BB81BC8}" type="pres">
      <dgm:prSet presAssocID="{98292CFA-F98C-462B-883B-C84F6DEFD95A}" presName="hierChild6" presStyleCnt="0"/>
      <dgm:spPr/>
    </dgm:pt>
    <dgm:pt modelId="{D4A517D1-60E6-43D1-82CD-C704028BE36A}" type="pres">
      <dgm:prSet presAssocID="{98292CFA-F98C-462B-883B-C84F6DEFD95A}" presName="hierChild7" presStyleCnt="0"/>
      <dgm:spPr/>
    </dgm:pt>
    <dgm:pt modelId="{37F04250-92DA-439E-ADFA-2ED251FA5025}" type="pres">
      <dgm:prSet presAssocID="{E97F3190-F492-4358-9D1B-98F7470DE474}" presName="Name101" presStyleLbl="parChTrans1D2" presStyleIdx="3" presStyleCnt="5"/>
      <dgm:spPr/>
    </dgm:pt>
    <dgm:pt modelId="{4A494104-089A-40BA-8A15-2DB71BAACEC4}" type="pres">
      <dgm:prSet presAssocID="{976ED11A-6C84-4C41-B6F7-890956AA9B1F}" presName="hierRoot3" presStyleCnt="0">
        <dgm:presLayoutVars>
          <dgm:hierBranch val="init"/>
        </dgm:presLayoutVars>
      </dgm:prSet>
      <dgm:spPr/>
    </dgm:pt>
    <dgm:pt modelId="{A3360CC6-641A-4155-AE2D-932DC0F6D867}" type="pres">
      <dgm:prSet presAssocID="{976ED11A-6C84-4C41-B6F7-890956AA9B1F}" presName="rootComposite3" presStyleCnt="0"/>
      <dgm:spPr/>
    </dgm:pt>
    <dgm:pt modelId="{C397795A-B3F9-412D-ADC8-9541408A0BFF}" type="pres">
      <dgm:prSet presAssocID="{976ED11A-6C84-4C41-B6F7-890956AA9B1F}" presName="rootText3" presStyleLbl="alignAcc1" presStyleIdx="0" presStyleCnt="0">
        <dgm:presLayoutVars>
          <dgm:chPref val="3"/>
        </dgm:presLayoutVars>
      </dgm:prSet>
      <dgm:spPr/>
    </dgm:pt>
    <dgm:pt modelId="{4645032B-EAC8-4DAB-8E35-0A165B11F0F9}" type="pres">
      <dgm:prSet presAssocID="{976ED11A-6C84-4C41-B6F7-890956AA9B1F}" presName="topArc3" presStyleLbl="parChTrans1D1" presStyleIdx="8" presStyleCnt="12"/>
      <dgm:spPr/>
    </dgm:pt>
    <dgm:pt modelId="{B687783A-7C2B-475A-9139-7CACA10417E0}" type="pres">
      <dgm:prSet presAssocID="{976ED11A-6C84-4C41-B6F7-890956AA9B1F}" presName="bottomArc3" presStyleLbl="parChTrans1D1" presStyleIdx="9" presStyleCnt="12"/>
      <dgm:spPr/>
    </dgm:pt>
    <dgm:pt modelId="{40FFBDF6-1F4B-4F8E-8094-9E4029CEA82E}" type="pres">
      <dgm:prSet presAssocID="{976ED11A-6C84-4C41-B6F7-890956AA9B1F}" presName="topConnNode3" presStyleLbl="asst1" presStyleIdx="0" presStyleCnt="0"/>
      <dgm:spPr/>
    </dgm:pt>
    <dgm:pt modelId="{3789131E-6B2E-4F9A-9970-7F8B20C52B5D}" type="pres">
      <dgm:prSet presAssocID="{976ED11A-6C84-4C41-B6F7-890956AA9B1F}" presName="hierChild6" presStyleCnt="0"/>
      <dgm:spPr/>
    </dgm:pt>
    <dgm:pt modelId="{D3BE7712-FEAD-481B-8F39-FFCBDFDF4798}" type="pres">
      <dgm:prSet presAssocID="{976ED11A-6C84-4C41-B6F7-890956AA9B1F}" presName="hierChild7" presStyleCnt="0"/>
      <dgm:spPr/>
    </dgm:pt>
    <dgm:pt modelId="{61062092-8B7F-4345-B78E-908FF318E4CB}" type="pres">
      <dgm:prSet presAssocID="{434B9738-A42E-440C-94AF-DB94C1FFA8D7}" presName="Name101" presStyleLbl="parChTrans1D2" presStyleIdx="4" presStyleCnt="5"/>
      <dgm:spPr/>
    </dgm:pt>
    <dgm:pt modelId="{745AD2D6-A69D-4C48-B7E3-0A4A871D015D}" type="pres">
      <dgm:prSet presAssocID="{F50B3D0E-AA65-474E-8C4A-FF36BD84ED1C}" presName="hierRoot3" presStyleCnt="0">
        <dgm:presLayoutVars>
          <dgm:hierBranch val="init"/>
        </dgm:presLayoutVars>
      </dgm:prSet>
      <dgm:spPr/>
    </dgm:pt>
    <dgm:pt modelId="{51BD996E-D246-4A22-AC4D-F726020CF2B8}" type="pres">
      <dgm:prSet presAssocID="{F50B3D0E-AA65-474E-8C4A-FF36BD84ED1C}" presName="rootComposite3" presStyleCnt="0"/>
      <dgm:spPr/>
    </dgm:pt>
    <dgm:pt modelId="{89A85584-8F2B-41AF-8038-93F8C03A0162}" type="pres">
      <dgm:prSet presAssocID="{F50B3D0E-AA65-474E-8C4A-FF36BD84ED1C}" presName="rootText3" presStyleLbl="alignAcc1" presStyleIdx="0" presStyleCnt="0">
        <dgm:presLayoutVars>
          <dgm:chPref val="3"/>
        </dgm:presLayoutVars>
      </dgm:prSet>
      <dgm:spPr/>
    </dgm:pt>
    <dgm:pt modelId="{1EABF46B-76E2-4E4A-89D4-2A9FF49DFCFD}" type="pres">
      <dgm:prSet presAssocID="{F50B3D0E-AA65-474E-8C4A-FF36BD84ED1C}" presName="topArc3" presStyleLbl="parChTrans1D1" presStyleIdx="10" presStyleCnt="12"/>
      <dgm:spPr/>
    </dgm:pt>
    <dgm:pt modelId="{260AB476-B5DD-42AD-AA74-F46262F7C05D}" type="pres">
      <dgm:prSet presAssocID="{F50B3D0E-AA65-474E-8C4A-FF36BD84ED1C}" presName="bottomArc3" presStyleLbl="parChTrans1D1" presStyleIdx="11" presStyleCnt="12"/>
      <dgm:spPr/>
    </dgm:pt>
    <dgm:pt modelId="{450BFAC8-8B41-406C-8C57-443348EB3862}" type="pres">
      <dgm:prSet presAssocID="{F50B3D0E-AA65-474E-8C4A-FF36BD84ED1C}" presName="topConnNode3" presStyleLbl="asst1" presStyleIdx="0" presStyleCnt="0"/>
      <dgm:spPr/>
    </dgm:pt>
    <dgm:pt modelId="{F4163FC9-D159-4E6A-AF28-943986A2D7D4}" type="pres">
      <dgm:prSet presAssocID="{F50B3D0E-AA65-474E-8C4A-FF36BD84ED1C}" presName="hierChild6" presStyleCnt="0"/>
      <dgm:spPr/>
    </dgm:pt>
    <dgm:pt modelId="{D0765352-78AE-4981-90C0-E7CDE37F436D}" type="pres">
      <dgm:prSet presAssocID="{F50B3D0E-AA65-474E-8C4A-FF36BD84ED1C}" presName="hierChild7" presStyleCnt="0"/>
      <dgm:spPr/>
    </dgm:pt>
  </dgm:ptLst>
  <dgm:cxnLst>
    <dgm:cxn modelId="{D9A49C09-7252-4E72-A517-2178BD33BED7}" type="presOf" srcId="{F50B3D0E-AA65-474E-8C4A-FF36BD84ED1C}" destId="{450BFAC8-8B41-406C-8C57-443348EB3862}" srcOrd="1" destOrd="0" presId="urn:microsoft.com/office/officeart/2008/layout/HalfCircleOrganizationChart"/>
    <dgm:cxn modelId="{873BB00C-79F3-4A38-AFCF-58B910FA1747}" type="presOf" srcId="{73243807-169A-4AE8-8FC0-DE5797F152E2}" destId="{2ABBA619-D079-4532-AB24-7065DA5C462D}" srcOrd="0" destOrd="0" presId="urn:microsoft.com/office/officeart/2008/layout/HalfCircleOrganizationChart"/>
    <dgm:cxn modelId="{EF4BDD0E-C360-4507-885A-B6F49A7BBC0D}" type="presOf" srcId="{BD36C393-C2B6-47AA-836E-93243BD014B7}" destId="{6019EE3A-D47C-447A-A18B-F7AB6979425D}" srcOrd="1" destOrd="0" presId="urn:microsoft.com/office/officeart/2008/layout/HalfCircleOrganizationChart"/>
    <dgm:cxn modelId="{B44C8F11-E50F-410E-A01D-54FD14F41059}" type="presOf" srcId="{434B9738-A42E-440C-94AF-DB94C1FFA8D7}" destId="{61062092-8B7F-4345-B78E-908FF318E4CB}" srcOrd="0" destOrd="0" presId="urn:microsoft.com/office/officeart/2008/layout/HalfCircleOrganizationChart"/>
    <dgm:cxn modelId="{F4D3CD19-C609-40B7-8F12-EB245DAEC27A}" srcId="{333351D2-C7DE-455C-8C90-92DE4E0A8602}" destId="{0744E35B-FD72-46EC-9CEC-A26DC268F0C4}" srcOrd="1" destOrd="0" parTransId="{F3419DFE-2623-4864-92D1-66D2ED721B99}" sibTransId="{31BBF6ED-1AB8-49F5-A115-E44D8E1F3A7C}"/>
    <dgm:cxn modelId="{69332F1F-0AD5-4BD5-B19E-75013FE073DD}" srcId="{333351D2-C7DE-455C-8C90-92DE4E0A8602}" destId="{BD36C393-C2B6-47AA-836E-93243BD014B7}" srcOrd="0" destOrd="0" parTransId="{CD00D4A5-D11B-42BA-8E31-A298EE8B7A61}" sibTransId="{9755732C-1CDD-4519-AA5D-A973CEF0239B}"/>
    <dgm:cxn modelId="{E0663938-6C2B-4631-B5A4-737372C2361F}" type="presOf" srcId="{F50B3D0E-AA65-474E-8C4A-FF36BD84ED1C}" destId="{89A85584-8F2B-41AF-8038-93F8C03A0162}" srcOrd="0" destOrd="0" presId="urn:microsoft.com/office/officeart/2008/layout/HalfCircleOrganizationChart"/>
    <dgm:cxn modelId="{3CC87E40-B5F2-4541-970C-6C04B886A375}" type="presOf" srcId="{976ED11A-6C84-4C41-B6F7-890956AA9B1F}" destId="{40FFBDF6-1F4B-4F8E-8094-9E4029CEA82E}" srcOrd="1" destOrd="0" presId="urn:microsoft.com/office/officeart/2008/layout/HalfCircleOrganizationChart"/>
    <dgm:cxn modelId="{08CB5165-ADFD-4DB9-81E5-4F17C8F13FFB}" type="presOf" srcId="{98292CFA-F98C-462B-883B-C84F6DEFD95A}" destId="{1ED2ADE8-FC81-4D84-868C-856D34E49FD2}" srcOrd="0" destOrd="0" presId="urn:microsoft.com/office/officeart/2008/layout/HalfCircleOrganizationChart"/>
    <dgm:cxn modelId="{FCDE9446-47E9-431C-A846-AE893339678A}" srcId="{333351D2-C7DE-455C-8C90-92DE4E0A8602}" destId="{976ED11A-6C84-4C41-B6F7-890956AA9B1F}" srcOrd="3" destOrd="0" parTransId="{E97F3190-F492-4358-9D1B-98F7470DE474}" sibTransId="{B60CF4A7-1971-46BB-A132-397064D487BB}"/>
    <dgm:cxn modelId="{BA796949-A31E-471B-932A-9A765B749972}" type="presOf" srcId="{F3419DFE-2623-4864-92D1-66D2ED721B99}" destId="{4653C46C-080D-4D78-A3D1-32A169DEFA41}" srcOrd="0" destOrd="0" presId="urn:microsoft.com/office/officeart/2008/layout/HalfCircleOrganizationChart"/>
    <dgm:cxn modelId="{A820506C-655D-4175-BA2E-B2196486CCE9}" type="presOf" srcId="{976ED11A-6C84-4C41-B6F7-890956AA9B1F}" destId="{C397795A-B3F9-412D-ADC8-9541408A0BFF}" srcOrd="0" destOrd="0" presId="urn:microsoft.com/office/officeart/2008/layout/HalfCircleOrganizationChart"/>
    <dgm:cxn modelId="{81AC6154-86D6-4C37-8DBB-8B74075FB4DE}" type="presOf" srcId="{0744E35B-FD72-46EC-9CEC-A26DC268F0C4}" destId="{0BD45357-125D-43CE-BDE1-E985E755A2C4}" srcOrd="0" destOrd="0" presId="urn:microsoft.com/office/officeart/2008/layout/HalfCircleOrganizationChart"/>
    <dgm:cxn modelId="{F8101878-D750-4B53-B9FB-620F8F525091}" type="presOf" srcId="{333351D2-C7DE-455C-8C90-92DE4E0A8602}" destId="{B1BD55A6-78CD-46F3-97CD-6C5E7F9957DB}" srcOrd="0" destOrd="0" presId="urn:microsoft.com/office/officeart/2008/layout/HalfCircleOrganizationChart"/>
    <dgm:cxn modelId="{C0381084-D6A8-4E3D-A93E-DE913F95189F}" type="presOf" srcId="{E97F3190-F492-4358-9D1B-98F7470DE474}" destId="{37F04250-92DA-439E-ADFA-2ED251FA5025}" srcOrd="0" destOrd="0" presId="urn:microsoft.com/office/officeart/2008/layout/HalfCircleOrganizationChart"/>
    <dgm:cxn modelId="{327AE2A5-BFD0-4554-A60B-9966E3FA87F1}" srcId="{333351D2-C7DE-455C-8C90-92DE4E0A8602}" destId="{98292CFA-F98C-462B-883B-C84F6DEFD95A}" srcOrd="2" destOrd="0" parTransId="{2DC05B9E-6B18-4E02-BABC-4C8376CA3AA0}" sibTransId="{18425246-F21B-48F1-8995-3AB1591FA703}"/>
    <dgm:cxn modelId="{A8FE4DA8-4882-4D58-89FF-2757C9B44131}" srcId="{73243807-169A-4AE8-8FC0-DE5797F152E2}" destId="{333351D2-C7DE-455C-8C90-92DE4E0A8602}" srcOrd="0" destOrd="0" parTransId="{7A8470EA-E1B6-4079-B9A6-C3C82AC39901}" sibTransId="{EF76CD78-F7B2-4498-A3D1-CDE7D5DFF184}"/>
    <dgm:cxn modelId="{BE0FCDB8-B4E2-4DA1-BC88-7BCEB898887A}" type="presOf" srcId="{0744E35B-FD72-46EC-9CEC-A26DC268F0C4}" destId="{DD8F5720-4D46-495F-B117-897AA2A81695}" srcOrd="1" destOrd="0" presId="urn:microsoft.com/office/officeart/2008/layout/HalfCircleOrganizationChart"/>
    <dgm:cxn modelId="{5C1712BC-216C-4A74-A1A2-E1B362E34DA4}" type="presOf" srcId="{333351D2-C7DE-455C-8C90-92DE4E0A8602}" destId="{DB17142E-DD47-430D-A9EE-8A0AA9095F2F}" srcOrd="1" destOrd="0" presId="urn:microsoft.com/office/officeart/2008/layout/HalfCircleOrganizationChart"/>
    <dgm:cxn modelId="{F38DD0E2-6C8D-4CFF-89D7-84C08CBCF6A3}" type="presOf" srcId="{98292CFA-F98C-462B-883B-C84F6DEFD95A}" destId="{5399FD09-65FA-4316-B935-52AECE63C367}" srcOrd="1" destOrd="0" presId="urn:microsoft.com/office/officeart/2008/layout/HalfCircleOrganizationChart"/>
    <dgm:cxn modelId="{47BB7DE7-FE0A-4C4A-BD69-8ACCF8D85198}" type="presOf" srcId="{CD00D4A5-D11B-42BA-8E31-A298EE8B7A61}" destId="{0B77F156-1A39-44A6-B5C9-F5AD7F0BB504}" srcOrd="0" destOrd="0" presId="urn:microsoft.com/office/officeart/2008/layout/HalfCircleOrganizationChart"/>
    <dgm:cxn modelId="{42CB2BEA-F560-4DD8-8747-CFA7A90E14AF}" srcId="{333351D2-C7DE-455C-8C90-92DE4E0A8602}" destId="{F50B3D0E-AA65-474E-8C4A-FF36BD84ED1C}" srcOrd="4" destOrd="0" parTransId="{434B9738-A42E-440C-94AF-DB94C1FFA8D7}" sibTransId="{5D59CF28-7416-4A6A-AFCE-D098AD136A45}"/>
    <dgm:cxn modelId="{65FBAAEC-A3FC-42E6-8B4F-30FA52F774CB}" type="presOf" srcId="{2DC05B9E-6B18-4E02-BABC-4C8376CA3AA0}" destId="{305F79EA-6E54-41C7-8631-1E772611C2CA}" srcOrd="0" destOrd="0" presId="urn:microsoft.com/office/officeart/2008/layout/HalfCircleOrganizationChart"/>
    <dgm:cxn modelId="{C934D0F3-4743-46BF-BDD9-4425A22646D3}" type="presOf" srcId="{BD36C393-C2B6-47AA-836E-93243BD014B7}" destId="{3ECA1620-C2D7-4080-BC70-4DE31B8D3620}" srcOrd="0" destOrd="0" presId="urn:microsoft.com/office/officeart/2008/layout/HalfCircleOrganizationChart"/>
    <dgm:cxn modelId="{7A9E9512-ABCD-42FA-8156-7889036783D6}" type="presParOf" srcId="{2ABBA619-D079-4532-AB24-7065DA5C462D}" destId="{643F9FE3-7845-44EF-B808-73DC0E237CCF}" srcOrd="0" destOrd="0" presId="urn:microsoft.com/office/officeart/2008/layout/HalfCircleOrganizationChart"/>
    <dgm:cxn modelId="{CF23F9B9-79B2-4558-9408-B1B3BA7FB94D}" type="presParOf" srcId="{643F9FE3-7845-44EF-B808-73DC0E237CCF}" destId="{5AD27204-5B12-4DE7-A99B-FF3F36425C47}" srcOrd="0" destOrd="0" presId="urn:microsoft.com/office/officeart/2008/layout/HalfCircleOrganizationChart"/>
    <dgm:cxn modelId="{68FF6A6A-33CC-41B4-A986-9CD914D113E3}" type="presParOf" srcId="{5AD27204-5B12-4DE7-A99B-FF3F36425C47}" destId="{B1BD55A6-78CD-46F3-97CD-6C5E7F9957DB}" srcOrd="0" destOrd="0" presId="urn:microsoft.com/office/officeart/2008/layout/HalfCircleOrganizationChart"/>
    <dgm:cxn modelId="{DD0F2A4C-89D1-4123-A1D0-87B962B07073}" type="presParOf" srcId="{5AD27204-5B12-4DE7-A99B-FF3F36425C47}" destId="{D7F1D294-7452-4D0A-B124-B8E0AA5EA53C}" srcOrd="1" destOrd="0" presId="urn:microsoft.com/office/officeart/2008/layout/HalfCircleOrganizationChart"/>
    <dgm:cxn modelId="{CAFABEDA-9CA9-421A-A5FA-DB9B6AE22FCF}" type="presParOf" srcId="{5AD27204-5B12-4DE7-A99B-FF3F36425C47}" destId="{56CF904C-4713-4C36-821B-5B412F075A50}" srcOrd="2" destOrd="0" presId="urn:microsoft.com/office/officeart/2008/layout/HalfCircleOrganizationChart"/>
    <dgm:cxn modelId="{88124679-ED90-4DF7-A48C-FEF31F1F138E}" type="presParOf" srcId="{5AD27204-5B12-4DE7-A99B-FF3F36425C47}" destId="{DB17142E-DD47-430D-A9EE-8A0AA9095F2F}" srcOrd="3" destOrd="0" presId="urn:microsoft.com/office/officeart/2008/layout/HalfCircleOrganizationChart"/>
    <dgm:cxn modelId="{15DDE5A5-DA2E-4C81-8BCB-1D3EF89BCB48}" type="presParOf" srcId="{643F9FE3-7845-44EF-B808-73DC0E237CCF}" destId="{532B6E59-C9DA-41D9-86D3-74CB7BCAF90C}" srcOrd="1" destOrd="0" presId="urn:microsoft.com/office/officeart/2008/layout/HalfCircleOrganizationChart"/>
    <dgm:cxn modelId="{1BD83497-4669-451B-ACC2-FC947229AD73}" type="presParOf" srcId="{643F9FE3-7845-44EF-B808-73DC0E237CCF}" destId="{D64E9F5D-4A94-453D-8EBA-A42AC4B64191}" srcOrd="2" destOrd="0" presId="urn:microsoft.com/office/officeart/2008/layout/HalfCircleOrganizationChart"/>
    <dgm:cxn modelId="{6A638C8C-FA8A-4763-B9D0-F129DE6FC823}" type="presParOf" srcId="{D64E9F5D-4A94-453D-8EBA-A42AC4B64191}" destId="{0B77F156-1A39-44A6-B5C9-F5AD7F0BB504}" srcOrd="0" destOrd="0" presId="urn:microsoft.com/office/officeart/2008/layout/HalfCircleOrganizationChart"/>
    <dgm:cxn modelId="{67D59C54-4795-4738-BFA2-198472171BAA}" type="presParOf" srcId="{D64E9F5D-4A94-453D-8EBA-A42AC4B64191}" destId="{00028410-C5A6-4495-A108-189C6E38DFCF}" srcOrd="1" destOrd="0" presId="urn:microsoft.com/office/officeart/2008/layout/HalfCircleOrganizationChart"/>
    <dgm:cxn modelId="{5EEAE202-0472-4E15-8BAD-5D547A12F793}" type="presParOf" srcId="{00028410-C5A6-4495-A108-189C6E38DFCF}" destId="{5C0BBECE-E081-4875-8FC0-7DE09118A684}" srcOrd="0" destOrd="0" presId="urn:microsoft.com/office/officeart/2008/layout/HalfCircleOrganizationChart"/>
    <dgm:cxn modelId="{3B233C93-073B-4D9D-BD65-EDA9A4922F65}" type="presParOf" srcId="{5C0BBECE-E081-4875-8FC0-7DE09118A684}" destId="{3ECA1620-C2D7-4080-BC70-4DE31B8D3620}" srcOrd="0" destOrd="0" presId="urn:microsoft.com/office/officeart/2008/layout/HalfCircleOrganizationChart"/>
    <dgm:cxn modelId="{7F32E8EE-85C5-4435-8ECF-652B471FF50C}" type="presParOf" srcId="{5C0BBECE-E081-4875-8FC0-7DE09118A684}" destId="{5C31FD24-27C2-47FE-B69E-DC3B6DD313E5}" srcOrd="1" destOrd="0" presId="urn:microsoft.com/office/officeart/2008/layout/HalfCircleOrganizationChart"/>
    <dgm:cxn modelId="{42808C23-618A-4D0F-8BF2-CD873FD4426A}" type="presParOf" srcId="{5C0BBECE-E081-4875-8FC0-7DE09118A684}" destId="{93C41DE1-B94D-4EE5-8895-0741F9E74F47}" srcOrd="2" destOrd="0" presId="urn:microsoft.com/office/officeart/2008/layout/HalfCircleOrganizationChart"/>
    <dgm:cxn modelId="{E8D7A68D-9A17-4FFE-8C2F-63AF26EA38F9}" type="presParOf" srcId="{5C0BBECE-E081-4875-8FC0-7DE09118A684}" destId="{6019EE3A-D47C-447A-A18B-F7AB6979425D}" srcOrd="3" destOrd="0" presId="urn:microsoft.com/office/officeart/2008/layout/HalfCircleOrganizationChart"/>
    <dgm:cxn modelId="{DC13E50B-300F-48D9-91AF-C05885F82D0D}" type="presParOf" srcId="{00028410-C5A6-4495-A108-189C6E38DFCF}" destId="{B41BA926-2642-4601-9E9D-C704510A578E}" srcOrd="1" destOrd="0" presId="urn:microsoft.com/office/officeart/2008/layout/HalfCircleOrganizationChart"/>
    <dgm:cxn modelId="{BD7932B9-D3CD-4EFB-9420-9606200DB79A}" type="presParOf" srcId="{00028410-C5A6-4495-A108-189C6E38DFCF}" destId="{3010E4F7-0950-4038-A9DA-241B51A0AC36}" srcOrd="2" destOrd="0" presId="urn:microsoft.com/office/officeart/2008/layout/HalfCircleOrganizationChart"/>
    <dgm:cxn modelId="{2A05B5FA-B61A-49C0-988B-7A45EAB23E12}" type="presParOf" srcId="{D64E9F5D-4A94-453D-8EBA-A42AC4B64191}" destId="{4653C46C-080D-4D78-A3D1-32A169DEFA41}" srcOrd="2" destOrd="0" presId="urn:microsoft.com/office/officeart/2008/layout/HalfCircleOrganizationChart"/>
    <dgm:cxn modelId="{DE8D86A8-F8F5-4EE9-B27D-53C1C576DC56}" type="presParOf" srcId="{D64E9F5D-4A94-453D-8EBA-A42AC4B64191}" destId="{37AD38EB-E24C-41A2-B5B9-0A7769E82F29}" srcOrd="3" destOrd="0" presId="urn:microsoft.com/office/officeart/2008/layout/HalfCircleOrganizationChart"/>
    <dgm:cxn modelId="{7F8A3400-8217-4640-9124-B6332E842D68}" type="presParOf" srcId="{37AD38EB-E24C-41A2-B5B9-0A7769E82F29}" destId="{85EC1F2E-0DCB-4AD7-87FB-1A8FED11CF16}" srcOrd="0" destOrd="0" presId="urn:microsoft.com/office/officeart/2008/layout/HalfCircleOrganizationChart"/>
    <dgm:cxn modelId="{1E6C7536-9D7B-487D-B7BC-8AEB6FF67ED4}" type="presParOf" srcId="{85EC1F2E-0DCB-4AD7-87FB-1A8FED11CF16}" destId="{0BD45357-125D-43CE-BDE1-E985E755A2C4}" srcOrd="0" destOrd="0" presId="urn:microsoft.com/office/officeart/2008/layout/HalfCircleOrganizationChart"/>
    <dgm:cxn modelId="{2DA975F7-082A-4012-9E50-A6C746DC9FB2}" type="presParOf" srcId="{85EC1F2E-0DCB-4AD7-87FB-1A8FED11CF16}" destId="{27DF2045-8158-4097-AA5B-6BC1C94FC9D8}" srcOrd="1" destOrd="0" presId="urn:microsoft.com/office/officeart/2008/layout/HalfCircleOrganizationChart"/>
    <dgm:cxn modelId="{9F83295F-A032-48C0-8D05-FF3246874D6C}" type="presParOf" srcId="{85EC1F2E-0DCB-4AD7-87FB-1A8FED11CF16}" destId="{9B5CBF44-771F-437E-B2EC-01F6A7AE3A22}" srcOrd="2" destOrd="0" presId="urn:microsoft.com/office/officeart/2008/layout/HalfCircleOrganizationChart"/>
    <dgm:cxn modelId="{2E3FA775-4D0C-48D4-9039-D751059CA6EF}" type="presParOf" srcId="{85EC1F2E-0DCB-4AD7-87FB-1A8FED11CF16}" destId="{DD8F5720-4D46-495F-B117-897AA2A81695}" srcOrd="3" destOrd="0" presId="urn:microsoft.com/office/officeart/2008/layout/HalfCircleOrganizationChart"/>
    <dgm:cxn modelId="{6BAB944E-62DF-4B8C-A460-C5A7D232C0D8}" type="presParOf" srcId="{37AD38EB-E24C-41A2-B5B9-0A7769E82F29}" destId="{050A3F42-E583-495D-9ABC-189C3ADA94CD}" srcOrd="1" destOrd="0" presId="urn:microsoft.com/office/officeart/2008/layout/HalfCircleOrganizationChart"/>
    <dgm:cxn modelId="{6BB2E64C-943B-4409-96DB-ED1FE1B8A849}" type="presParOf" srcId="{37AD38EB-E24C-41A2-B5B9-0A7769E82F29}" destId="{37B5EB52-F222-4BE7-A330-19754F2AC999}" srcOrd="2" destOrd="0" presId="urn:microsoft.com/office/officeart/2008/layout/HalfCircleOrganizationChart"/>
    <dgm:cxn modelId="{4C174E8B-FDCA-4275-809B-9F318F44433C}" type="presParOf" srcId="{D64E9F5D-4A94-453D-8EBA-A42AC4B64191}" destId="{305F79EA-6E54-41C7-8631-1E772611C2CA}" srcOrd="4" destOrd="0" presId="urn:microsoft.com/office/officeart/2008/layout/HalfCircleOrganizationChart"/>
    <dgm:cxn modelId="{E6F74123-7D75-412C-ACC0-14940E90C910}" type="presParOf" srcId="{D64E9F5D-4A94-453D-8EBA-A42AC4B64191}" destId="{4297F90D-7321-439E-AAF5-35530A7ECD60}" srcOrd="5" destOrd="0" presId="urn:microsoft.com/office/officeart/2008/layout/HalfCircleOrganizationChart"/>
    <dgm:cxn modelId="{9E493AD3-2EEB-4FD8-A63C-C13F0B4E825C}" type="presParOf" srcId="{4297F90D-7321-439E-AAF5-35530A7ECD60}" destId="{ABAE796E-D5AC-463B-B86F-F83E95F71206}" srcOrd="0" destOrd="0" presId="urn:microsoft.com/office/officeart/2008/layout/HalfCircleOrganizationChart"/>
    <dgm:cxn modelId="{2C96AD3E-BBAB-4F91-803A-2BAF8EEBBA5B}" type="presParOf" srcId="{ABAE796E-D5AC-463B-B86F-F83E95F71206}" destId="{1ED2ADE8-FC81-4D84-868C-856D34E49FD2}" srcOrd="0" destOrd="0" presId="urn:microsoft.com/office/officeart/2008/layout/HalfCircleOrganizationChart"/>
    <dgm:cxn modelId="{945B71AE-6B46-423F-A8FC-DC57DD1DC11B}" type="presParOf" srcId="{ABAE796E-D5AC-463B-B86F-F83E95F71206}" destId="{3A6F7857-59B0-4C4E-B36F-33693BAB17DE}" srcOrd="1" destOrd="0" presId="urn:microsoft.com/office/officeart/2008/layout/HalfCircleOrganizationChart"/>
    <dgm:cxn modelId="{BD26AE68-521C-4139-B60D-5E06EC661704}" type="presParOf" srcId="{ABAE796E-D5AC-463B-B86F-F83E95F71206}" destId="{2B4523C2-B61D-49B6-9852-6C224D0AE835}" srcOrd="2" destOrd="0" presId="urn:microsoft.com/office/officeart/2008/layout/HalfCircleOrganizationChart"/>
    <dgm:cxn modelId="{A9D39140-ECAC-4163-9B22-2AAA6E318A86}" type="presParOf" srcId="{ABAE796E-D5AC-463B-B86F-F83E95F71206}" destId="{5399FD09-65FA-4316-B935-52AECE63C367}" srcOrd="3" destOrd="0" presId="urn:microsoft.com/office/officeart/2008/layout/HalfCircleOrganizationChart"/>
    <dgm:cxn modelId="{077923DB-8CD0-4E37-8400-2C1F7E8324D5}" type="presParOf" srcId="{4297F90D-7321-439E-AAF5-35530A7ECD60}" destId="{BA035127-1B01-4AD4-94F7-E9FB8BB81BC8}" srcOrd="1" destOrd="0" presId="urn:microsoft.com/office/officeart/2008/layout/HalfCircleOrganizationChart"/>
    <dgm:cxn modelId="{E2A0915C-9E2D-49BC-873F-C3FB00327BDA}" type="presParOf" srcId="{4297F90D-7321-439E-AAF5-35530A7ECD60}" destId="{D4A517D1-60E6-43D1-82CD-C704028BE36A}" srcOrd="2" destOrd="0" presId="urn:microsoft.com/office/officeart/2008/layout/HalfCircleOrganizationChart"/>
    <dgm:cxn modelId="{5F066373-DBD0-407A-9E1A-674435A7E41C}" type="presParOf" srcId="{D64E9F5D-4A94-453D-8EBA-A42AC4B64191}" destId="{37F04250-92DA-439E-ADFA-2ED251FA5025}" srcOrd="6" destOrd="0" presId="urn:microsoft.com/office/officeart/2008/layout/HalfCircleOrganizationChart"/>
    <dgm:cxn modelId="{72D405D0-18B2-44CE-80E8-114E959927B0}" type="presParOf" srcId="{D64E9F5D-4A94-453D-8EBA-A42AC4B64191}" destId="{4A494104-089A-40BA-8A15-2DB71BAACEC4}" srcOrd="7" destOrd="0" presId="urn:microsoft.com/office/officeart/2008/layout/HalfCircleOrganizationChart"/>
    <dgm:cxn modelId="{DF8181A2-6A9D-4491-B473-DACC30388C0E}" type="presParOf" srcId="{4A494104-089A-40BA-8A15-2DB71BAACEC4}" destId="{A3360CC6-641A-4155-AE2D-932DC0F6D867}" srcOrd="0" destOrd="0" presId="urn:microsoft.com/office/officeart/2008/layout/HalfCircleOrganizationChart"/>
    <dgm:cxn modelId="{BA1E4C75-9E12-4F62-A3C3-7BDFBED19C05}" type="presParOf" srcId="{A3360CC6-641A-4155-AE2D-932DC0F6D867}" destId="{C397795A-B3F9-412D-ADC8-9541408A0BFF}" srcOrd="0" destOrd="0" presId="urn:microsoft.com/office/officeart/2008/layout/HalfCircleOrganizationChart"/>
    <dgm:cxn modelId="{77919881-719E-435A-A499-A3D3F740F4DF}" type="presParOf" srcId="{A3360CC6-641A-4155-AE2D-932DC0F6D867}" destId="{4645032B-EAC8-4DAB-8E35-0A165B11F0F9}" srcOrd="1" destOrd="0" presId="urn:microsoft.com/office/officeart/2008/layout/HalfCircleOrganizationChart"/>
    <dgm:cxn modelId="{7D977A15-52A2-4F9F-82E0-2FDA0A0AF40F}" type="presParOf" srcId="{A3360CC6-641A-4155-AE2D-932DC0F6D867}" destId="{B687783A-7C2B-475A-9139-7CACA10417E0}" srcOrd="2" destOrd="0" presId="urn:microsoft.com/office/officeart/2008/layout/HalfCircleOrganizationChart"/>
    <dgm:cxn modelId="{FA723421-C296-4B65-B865-A4A339024221}" type="presParOf" srcId="{A3360CC6-641A-4155-AE2D-932DC0F6D867}" destId="{40FFBDF6-1F4B-4F8E-8094-9E4029CEA82E}" srcOrd="3" destOrd="0" presId="urn:microsoft.com/office/officeart/2008/layout/HalfCircleOrganizationChart"/>
    <dgm:cxn modelId="{32EF27B9-5AE8-4180-8701-4C1124188733}" type="presParOf" srcId="{4A494104-089A-40BA-8A15-2DB71BAACEC4}" destId="{3789131E-6B2E-4F9A-9970-7F8B20C52B5D}" srcOrd="1" destOrd="0" presId="urn:microsoft.com/office/officeart/2008/layout/HalfCircleOrganizationChart"/>
    <dgm:cxn modelId="{095A64E6-EF19-4A4C-8B94-772ABD55DF2B}" type="presParOf" srcId="{4A494104-089A-40BA-8A15-2DB71BAACEC4}" destId="{D3BE7712-FEAD-481B-8F39-FFCBDFDF4798}" srcOrd="2" destOrd="0" presId="urn:microsoft.com/office/officeart/2008/layout/HalfCircleOrganizationChart"/>
    <dgm:cxn modelId="{D76512B2-8F3C-4F8F-B599-A3B01364AA31}" type="presParOf" srcId="{D64E9F5D-4A94-453D-8EBA-A42AC4B64191}" destId="{61062092-8B7F-4345-B78E-908FF318E4CB}" srcOrd="8" destOrd="0" presId="urn:microsoft.com/office/officeart/2008/layout/HalfCircleOrganizationChart"/>
    <dgm:cxn modelId="{3EC78472-6F1B-4C5C-8D55-CB0DCF78141A}" type="presParOf" srcId="{D64E9F5D-4A94-453D-8EBA-A42AC4B64191}" destId="{745AD2D6-A69D-4C48-B7E3-0A4A871D015D}" srcOrd="9" destOrd="0" presId="urn:microsoft.com/office/officeart/2008/layout/HalfCircleOrganizationChart"/>
    <dgm:cxn modelId="{FFD64395-BD98-4A1F-89F6-F7CC03BD7989}" type="presParOf" srcId="{745AD2D6-A69D-4C48-B7E3-0A4A871D015D}" destId="{51BD996E-D246-4A22-AC4D-F726020CF2B8}" srcOrd="0" destOrd="0" presId="urn:microsoft.com/office/officeart/2008/layout/HalfCircleOrganizationChart"/>
    <dgm:cxn modelId="{9F54C5A5-AC9B-4506-A827-5CD925E04363}" type="presParOf" srcId="{51BD996E-D246-4A22-AC4D-F726020CF2B8}" destId="{89A85584-8F2B-41AF-8038-93F8C03A0162}" srcOrd="0" destOrd="0" presId="urn:microsoft.com/office/officeart/2008/layout/HalfCircleOrganizationChart"/>
    <dgm:cxn modelId="{D37C52FF-9D69-4EC6-A99A-A1D25D104594}" type="presParOf" srcId="{51BD996E-D246-4A22-AC4D-F726020CF2B8}" destId="{1EABF46B-76E2-4E4A-89D4-2A9FF49DFCFD}" srcOrd="1" destOrd="0" presId="urn:microsoft.com/office/officeart/2008/layout/HalfCircleOrganizationChart"/>
    <dgm:cxn modelId="{A094FD04-E13F-426B-B747-A7FDFEB3F6CF}" type="presParOf" srcId="{51BD996E-D246-4A22-AC4D-F726020CF2B8}" destId="{260AB476-B5DD-42AD-AA74-F46262F7C05D}" srcOrd="2" destOrd="0" presId="urn:microsoft.com/office/officeart/2008/layout/HalfCircleOrganizationChart"/>
    <dgm:cxn modelId="{4A89B57B-FEB0-4F31-8034-3FDF02CD38BC}" type="presParOf" srcId="{51BD996E-D246-4A22-AC4D-F726020CF2B8}" destId="{450BFAC8-8B41-406C-8C57-443348EB3862}" srcOrd="3" destOrd="0" presId="urn:microsoft.com/office/officeart/2008/layout/HalfCircleOrganizationChart"/>
    <dgm:cxn modelId="{3B3E6204-1034-4173-AFA0-8CDFE5316127}" type="presParOf" srcId="{745AD2D6-A69D-4C48-B7E3-0A4A871D015D}" destId="{F4163FC9-D159-4E6A-AF28-943986A2D7D4}" srcOrd="1" destOrd="0" presId="urn:microsoft.com/office/officeart/2008/layout/HalfCircleOrganizationChart"/>
    <dgm:cxn modelId="{C534264C-2D40-406C-865F-CFDAAC021536}" type="presParOf" srcId="{745AD2D6-A69D-4C48-B7E3-0A4A871D015D}" destId="{D0765352-78AE-4981-90C0-E7CDE37F436D}" srcOrd="2" destOrd="0" presId="urn:microsoft.com/office/officeart/2008/layout/HalfCircleOrganizationChart"/>
  </dgm:cxnLst>
  <dgm:bg>
    <a:noFill/>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7EA5D2-79BD-43AF-B030-79A75ED32C70}">
      <dsp:nvSpPr>
        <dsp:cNvPr id="0" name=""/>
        <dsp:cNvSpPr/>
      </dsp:nvSpPr>
      <dsp:spPr>
        <a:xfrm>
          <a:off x="2924825" y="440874"/>
          <a:ext cx="548663" cy="1952294"/>
        </a:xfrm>
        <a:custGeom>
          <a:avLst/>
          <a:gdLst/>
          <a:ahLst/>
          <a:cxnLst/>
          <a:rect l="0" t="0" r="0" b="0"/>
          <a:pathLst>
            <a:path>
              <a:moveTo>
                <a:pt x="0" y="0"/>
              </a:moveTo>
              <a:lnTo>
                <a:pt x="0" y="1952294"/>
              </a:lnTo>
              <a:lnTo>
                <a:pt x="548663" y="1952294"/>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47C29A-9D13-4B5A-A3A8-E21ECB712FF1}">
      <dsp:nvSpPr>
        <dsp:cNvPr id="0" name=""/>
        <dsp:cNvSpPr/>
      </dsp:nvSpPr>
      <dsp:spPr>
        <a:xfrm>
          <a:off x="2342849" y="440874"/>
          <a:ext cx="581976" cy="1937928"/>
        </a:xfrm>
        <a:custGeom>
          <a:avLst/>
          <a:gdLst/>
          <a:ahLst/>
          <a:cxnLst/>
          <a:rect l="0" t="0" r="0" b="0"/>
          <a:pathLst>
            <a:path>
              <a:moveTo>
                <a:pt x="581976" y="0"/>
              </a:moveTo>
              <a:lnTo>
                <a:pt x="581976" y="1937928"/>
              </a:lnTo>
              <a:lnTo>
                <a:pt x="0" y="1937928"/>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F75026-B492-447C-97A2-96820DFEBB84}">
      <dsp:nvSpPr>
        <dsp:cNvPr id="0" name=""/>
        <dsp:cNvSpPr/>
      </dsp:nvSpPr>
      <dsp:spPr>
        <a:xfrm>
          <a:off x="2924825" y="440874"/>
          <a:ext cx="571545" cy="1182242"/>
        </a:xfrm>
        <a:custGeom>
          <a:avLst/>
          <a:gdLst/>
          <a:ahLst/>
          <a:cxnLst/>
          <a:rect l="0" t="0" r="0" b="0"/>
          <a:pathLst>
            <a:path>
              <a:moveTo>
                <a:pt x="0" y="0"/>
              </a:moveTo>
              <a:lnTo>
                <a:pt x="0" y="1182242"/>
              </a:lnTo>
              <a:lnTo>
                <a:pt x="571545" y="1182242"/>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3839AC-C0F3-4B2A-A215-911EEAE5B217}">
      <dsp:nvSpPr>
        <dsp:cNvPr id="0" name=""/>
        <dsp:cNvSpPr/>
      </dsp:nvSpPr>
      <dsp:spPr>
        <a:xfrm>
          <a:off x="2342849" y="440874"/>
          <a:ext cx="581976" cy="1174462"/>
        </a:xfrm>
        <a:custGeom>
          <a:avLst/>
          <a:gdLst/>
          <a:ahLst/>
          <a:cxnLst/>
          <a:rect l="0" t="0" r="0" b="0"/>
          <a:pathLst>
            <a:path>
              <a:moveTo>
                <a:pt x="581976" y="0"/>
              </a:moveTo>
              <a:lnTo>
                <a:pt x="581976" y="1174462"/>
              </a:lnTo>
              <a:lnTo>
                <a:pt x="0" y="1174462"/>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E86D06-A3F7-4709-8A9C-4D44DBF44CF7}">
      <dsp:nvSpPr>
        <dsp:cNvPr id="0" name=""/>
        <dsp:cNvSpPr/>
      </dsp:nvSpPr>
      <dsp:spPr>
        <a:xfrm>
          <a:off x="2924825" y="440874"/>
          <a:ext cx="562061" cy="419825"/>
        </a:xfrm>
        <a:custGeom>
          <a:avLst/>
          <a:gdLst/>
          <a:ahLst/>
          <a:cxnLst/>
          <a:rect l="0" t="0" r="0" b="0"/>
          <a:pathLst>
            <a:path>
              <a:moveTo>
                <a:pt x="0" y="0"/>
              </a:moveTo>
              <a:lnTo>
                <a:pt x="0" y="419825"/>
              </a:lnTo>
              <a:lnTo>
                <a:pt x="562061" y="419825"/>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40ADDD5-7266-4FA2-A3A0-1432A2A343AE}">
      <dsp:nvSpPr>
        <dsp:cNvPr id="0" name=""/>
        <dsp:cNvSpPr/>
      </dsp:nvSpPr>
      <dsp:spPr>
        <a:xfrm>
          <a:off x="2342849" y="440874"/>
          <a:ext cx="581976" cy="410996"/>
        </a:xfrm>
        <a:custGeom>
          <a:avLst/>
          <a:gdLst/>
          <a:ahLst/>
          <a:cxnLst/>
          <a:rect l="0" t="0" r="0" b="0"/>
          <a:pathLst>
            <a:path>
              <a:moveTo>
                <a:pt x="581976" y="0"/>
              </a:moveTo>
              <a:lnTo>
                <a:pt x="581976" y="410996"/>
              </a:lnTo>
              <a:lnTo>
                <a:pt x="0" y="41099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BA15CFA-BE87-480B-9EB0-35B340174C31}">
      <dsp:nvSpPr>
        <dsp:cNvPr id="0" name=""/>
        <dsp:cNvSpPr/>
      </dsp:nvSpPr>
      <dsp:spPr>
        <a:xfrm>
          <a:off x="2309582" y="-96777"/>
          <a:ext cx="1230486" cy="537652"/>
        </a:xfrm>
        <a:prstGeom prst="arc">
          <a:avLst>
            <a:gd name="adj1" fmla="val 13200000"/>
            <a:gd name="adj2" fmla="val 192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3173A3-CB7E-40E7-B691-9BAF457485D8}">
      <dsp:nvSpPr>
        <dsp:cNvPr id="0" name=""/>
        <dsp:cNvSpPr/>
      </dsp:nvSpPr>
      <dsp:spPr>
        <a:xfrm>
          <a:off x="2309582" y="-96777"/>
          <a:ext cx="1230486" cy="537652"/>
        </a:xfrm>
        <a:prstGeom prst="arc">
          <a:avLst>
            <a:gd name="adj1" fmla="val 2400000"/>
            <a:gd name="adj2" fmla="val 84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AB135D3-0BE3-4F3A-AA90-C06F001E7992}">
      <dsp:nvSpPr>
        <dsp:cNvPr id="0" name=""/>
        <dsp:cNvSpPr/>
      </dsp:nvSpPr>
      <dsp:spPr>
        <a:xfrm>
          <a:off x="1694338" y="0"/>
          <a:ext cx="2460973" cy="34409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Comprehensive Risk Data Mart / Aggregation –BCBS 23General Ledger &amp; Accounting Reconciliation</a:t>
          </a:r>
        </a:p>
      </dsp:txBody>
      <dsp:txXfrm>
        <a:off x="1694338" y="0"/>
        <a:ext cx="2460973" cy="344097"/>
      </dsp:txXfrm>
    </dsp:sp>
    <dsp:sp modelId="{16F66FFF-4725-4015-A6CB-81DB205C612C}">
      <dsp:nvSpPr>
        <dsp:cNvPr id="0" name=""/>
        <dsp:cNvSpPr/>
      </dsp:nvSpPr>
      <dsp:spPr>
        <a:xfrm>
          <a:off x="1869715" y="755093"/>
          <a:ext cx="537652" cy="537652"/>
        </a:xfrm>
        <a:prstGeom prst="arc">
          <a:avLst>
            <a:gd name="adj1" fmla="val 13200000"/>
            <a:gd name="adj2" fmla="val 192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41357A-CCE5-433E-B311-7BF078E7BBB4}">
      <dsp:nvSpPr>
        <dsp:cNvPr id="0" name=""/>
        <dsp:cNvSpPr/>
      </dsp:nvSpPr>
      <dsp:spPr>
        <a:xfrm>
          <a:off x="1869715" y="755093"/>
          <a:ext cx="537652" cy="537652"/>
        </a:xfrm>
        <a:prstGeom prst="arc">
          <a:avLst>
            <a:gd name="adj1" fmla="val 2400000"/>
            <a:gd name="adj2" fmla="val 84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3FAFDE-DAAF-4B53-B55D-E6113A156793}">
      <dsp:nvSpPr>
        <dsp:cNvPr id="0" name=""/>
        <dsp:cNvSpPr/>
      </dsp:nvSpPr>
      <dsp:spPr>
        <a:xfrm>
          <a:off x="1600889" y="851870"/>
          <a:ext cx="1075304" cy="34409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T1</a:t>
          </a:r>
        </a:p>
      </dsp:txBody>
      <dsp:txXfrm>
        <a:off x="1600889" y="851870"/>
        <a:ext cx="1075304" cy="344097"/>
      </dsp:txXfrm>
    </dsp:sp>
    <dsp:sp modelId="{DCD2A7DD-1628-4388-B259-B1426FA1CFC9}">
      <dsp:nvSpPr>
        <dsp:cNvPr id="0" name=""/>
        <dsp:cNvSpPr/>
      </dsp:nvSpPr>
      <dsp:spPr>
        <a:xfrm>
          <a:off x="3422368" y="763923"/>
          <a:ext cx="537652" cy="537652"/>
        </a:xfrm>
        <a:prstGeom prst="arc">
          <a:avLst>
            <a:gd name="adj1" fmla="val 13200000"/>
            <a:gd name="adj2" fmla="val 192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26ED91C-0CC2-437B-8962-CED9630A11AC}">
      <dsp:nvSpPr>
        <dsp:cNvPr id="0" name=""/>
        <dsp:cNvSpPr/>
      </dsp:nvSpPr>
      <dsp:spPr>
        <a:xfrm>
          <a:off x="3422368" y="763923"/>
          <a:ext cx="537652" cy="537652"/>
        </a:xfrm>
        <a:prstGeom prst="arc">
          <a:avLst>
            <a:gd name="adj1" fmla="val 2400000"/>
            <a:gd name="adj2" fmla="val 84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2A218B-AF19-4B26-9C3E-28B9FD73D26E}">
      <dsp:nvSpPr>
        <dsp:cNvPr id="0" name=""/>
        <dsp:cNvSpPr/>
      </dsp:nvSpPr>
      <dsp:spPr>
        <a:xfrm>
          <a:off x="3153542" y="860700"/>
          <a:ext cx="1075304" cy="34409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T2</a:t>
          </a:r>
        </a:p>
      </dsp:txBody>
      <dsp:txXfrm>
        <a:off x="3153542" y="860700"/>
        <a:ext cx="1075304" cy="344097"/>
      </dsp:txXfrm>
    </dsp:sp>
    <dsp:sp modelId="{A3CEFF5F-EE1B-45AB-8948-1001CEDC5CCD}">
      <dsp:nvSpPr>
        <dsp:cNvPr id="0" name=""/>
        <dsp:cNvSpPr/>
      </dsp:nvSpPr>
      <dsp:spPr>
        <a:xfrm>
          <a:off x="1869715" y="1518559"/>
          <a:ext cx="537652" cy="537652"/>
        </a:xfrm>
        <a:prstGeom prst="arc">
          <a:avLst>
            <a:gd name="adj1" fmla="val 13200000"/>
            <a:gd name="adj2" fmla="val 192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458E84-8767-4475-84A5-B52696301257}">
      <dsp:nvSpPr>
        <dsp:cNvPr id="0" name=""/>
        <dsp:cNvSpPr/>
      </dsp:nvSpPr>
      <dsp:spPr>
        <a:xfrm>
          <a:off x="1869715" y="1518559"/>
          <a:ext cx="537652" cy="537652"/>
        </a:xfrm>
        <a:prstGeom prst="arc">
          <a:avLst>
            <a:gd name="adj1" fmla="val 2400000"/>
            <a:gd name="adj2" fmla="val 84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DB3751-D8AE-4F64-95DE-54C32CC4A8F1}">
      <dsp:nvSpPr>
        <dsp:cNvPr id="0" name=""/>
        <dsp:cNvSpPr/>
      </dsp:nvSpPr>
      <dsp:spPr>
        <a:xfrm>
          <a:off x="1600889" y="1615336"/>
          <a:ext cx="1075304" cy="34409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T3</a:t>
          </a:r>
        </a:p>
      </dsp:txBody>
      <dsp:txXfrm>
        <a:off x="1600889" y="1615336"/>
        <a:ext cx="1075304" cy="344097"/>
      </dsp:txXfrm>
    </dsp:sp>
    <dsp:sp modelId="{AFF509BD-9D1D-4C94-987C-A331343519A3}">
      <dsp:nvSpPr>
        <dsp:cNvPr id="0" name=""/>
        <dsp:cNvSpPr/>
      </dsp:nvSpPr>
      <dsp:spPr>
        <a:xfrm>
          <a:off x="3431853" y="1526339"/>
          <a:ext cx="537652" cy="537652"/>
        </a:xfrm>
        <a:prstGeom prst="arc">
          <a:avLst>
            <a:gd name="adj1" fmla="val 13200000"/>
            <a:gd name="adj2" fmla="val 192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58304F-BE3D-4AE4-8A17-76E4CFD0891D}">
      <dsp:nvSpPr>
        <dsp:cNvPr id="0" name=""/>
        <dsp:cNvSpPr/>
      </dsp:nvSpPr>
      <dsp:spPr>
        <a:xfrm>
          <a:off x="3431853" y="1526339"/>
          <a:ext cx="537652" cy="537652"/>
        </a:xfrm>
        <a:prstGeom prst="arc">
          <a:avLst>
            <a:gd name="adj1" fmla="val 2400000"/>
            <a:gd name="adj2" fmla="val 84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6ADE5F8-CB54-4262-B47A-46D46B2F3EBC}">
      <dsp:nvSpPr>
        <dsp:cNvPr id="0" name=""/>
        <dsp:cNvSpPr/>
      </dsp:nvSpPr>
      <dsp:spPr>
        <a:xfrm>
          <a:off x="3163027" y="1623116"/>
          <a:ext cx="1075304" cy="34409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T4</a:t>
          </a:r>
        </a:p>
      </dsp:txBody>
      <dsp:txXfrm>
        <a:off x="3163027" y="1623116"/>
        <a:ext cx="1075304" cy="344097"/>
      </dsp:txXfrm>
    </dsp:sp>
    <dsp:sp modelId="{C7951CFA-14A4-4638-9C96-5B95F080DA6E}">
      <dsp:nvSpPr>
        <dsp:cNvPr id="0" name=""/>
        <dsp:cNvSpPr/>
      </dsp:nvSpPr>
      <dsp:spPr>
        <a:xfrm>
          <a:off x="1869715" y="2282025"/>
          <a:ext cx="537652" cy="537652"/>
        </a:xfrm>
        <a:prstGeom prst="arc">
          <a:avLst>
            <a:gd name="adj1" fmla="val 13200000"/>
            <a:gd name="adj2" fmla="val 192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0986B3D-4357-4F1F-BF0C-C3E1988FA00B}">
      <dsp:nvSpPr>
        <dsp:cNvPr id="0" name=""/>
        <dsp:cNvSpPr/>
      </dsp:nvSpPr>
      <dsp:spPr>
        <a:xfrm>
          <a:off x="1869715" y="2282025"/>
          <a:ext cx="537652" cy="537652"/>
        </a:xfrm>
        <a:prstGeom prst="arc">
          <a:avLst>
            <a:gd name="adj1" fmla="val 2400000"/>
            <a:gd name="adj2" fmla="val 84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E9728F9-50FF-4D7F-8E30-BFD9C9D30030}">
      <dsp:nvSpPr>
        <dsp:cNvPr id="0" name=""/>
        <dsp:cNvSpPr/>
      </dsp:nvSpPr>
      <dsp:spPr>
        <a:xfrm>
          <a:off x="1600889" y="2378802"/>
          <a:ext cx="1075304" cy="34409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EXCEL</a:t>
          </a:r>
        </a:p>
      </dsp:txBody>
      <dsp:txXfrm>
        <a:off x="1600889" y="2378802"/>
        <a:ext cx="1075304" cy="344097"/>
      </dsp:txXfrm>
    </dsp:sp>
    <dsp:sp modelId="{83B896E8-4CDC-40EE-BD25-B36D364A5C6E}">
      <dsp:nvSpPr>
        <dsp:cNvPr id="0" name=""/>
        <dsp:cNvSpPr/>
      </dsp:nvSpPr>
      <dsp:spPr>
        <a:xfrm>
          <a:off x="3408970" y="2296391"/>
          <a:ext cx="537652" cy="537652"/>
        </a:xfrm>
        <a:prstGeom prst="arc">
          <a:avLst>
            <a:gd name="adj1" fmla="val 13200000"/>
            <a:gd name="adj2" fmla="val 192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5FCB77-20B7-46A2-BFCF-1511CAD1A485}">
      <dsp:nvSpPr>
        <dsp:cNvPr id="0" name=""/>
        <dsp:cNvSpPr/>
      </dsp:nvSpPr>
      <dsp:spPr>
        <a:xfrm>
          <a:off x="3408970" y="2296391"/>
          <a:ext cx="537652" cy="537652"/>
        </a:xfrm>
        <a:prstGeom prst="arc">
          <a:avLst>
            <a:gd name="adj1" fmla="val 2400000"/>
            <a:gd name="adj2" fmla="val 840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2B6C50-9517-4A68-A35C-06B96BF45C11}">
      <dsp:nvSpPr>
        <dsp:cNvPr id="0" name=""/>
        <dsp:cNvSpPr/>
      </dsp:nvSpPr>
      <dsp:spPr>
        <a:xfrm>
          <a:off x="3140144" y="2393168"/>
          <a:ext cx="1075304" cy="34409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EXCEL</a:t>
          </a:r>
        </a:p>
      </dsp:txBody>
      <dsp:txXfrm>
        <a:off x="3140144" y="2393168"/>
        <a:ext cx="1075304" cy="3440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9D2844-EE6A-4108-8168-234EA9BF786F}">
      <dsp:nvSpPr>
        <dsp:cNvPr id="0" name=""/>
        <dsp:cNvSpPr/>
      </dsp:nvSpPr>
      <dsp:spPr>
        <a:xfrm>
          <a:off x="2757105" y="625611"/>
          <a:ext cx="517586" cy="3030689"/>
        </a:xfrm>
        <a:custGeom>
          <a:avLst/>
          <a:gdLst/>
          <a:ahLst/>
          <a:cxnLst/>
          <a:rect l="0" t="0" r="0" b="0"/>
          <a:pathLst>
            <a:path>
              <a:moveTo>
                <a:pt x="517586" y="0"/>
              </a:moveTo>
              <a:lnTo>
                <a:pt x="517586" y="3030689"/>
              </a:lnTo>
              <a:lnTo>
                <a:pt x="0" y="3030689"/>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0CEC51F2-8D3A-49B2-9E40-346DAA1FD3F8}">
      <dsp:nvSpPr>
        <dsp:cNvPr id="0" name=""/>
        <dsp:cNvSpPr/>
      </dsp:nvSpPr>
      <dsp:spPr>
        <a:xfrm>
          <a:off x="3274692" y="625611"/>
          <a:ext cx="517586" cy="2145179"/>
        </a:xfrm>
        <a:custGeom>
          <a:avLst/>
          <a:gdLst/>
          <a:ahLst/>
          <a:cxnLst/>
          <a:rect l="0" t="0" r="0" b="0"/>
          <a:pathLst>
            <a:path>
              <a:moveTo>
                <a:pt x="0" y="0"/>
              </a:moveTo>
              <a:lnTo>
                <a:pt x="0" y="2145179"/>
              </a:lnTo>
              <a:lnTo>
                <a:pt x="517586" y="2145179"/>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1294D6C3-A39B-42E4-BE51-C2E86C5BBE0E}">
      <dsp:nvSpPr>
        <dsp:cNvPr id="0" name=""/>
        <dsp:cNvSpPr/>
      </dsp:nvSpPr>
      <dsp:spPr>
        <a:xfrm>
          <a:off x="2757105" y="625611"/>
          <a:ext cx="517586" cy="2145179"/>
        </a:xfrm>
        <a:custGeom>
          <a:avLst/>
          <a:gdLst/>
          <a:ahLst/>
          <a:cxnLst/>
          <a:rect l="0" t="0" r="0" b="0"/>
          <a:pathLst>
            <a:path>
              <a:moveTo>
                <a:pt x="517586" y="0"/>
              </a:moveTo>
              <a:lnTo>
                <a:pt x="517586" y="2145179"/>
              </a:lnTo>
              <a:lnTo>
                <a:pt x="0" y="2145179"/>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30E4F2A3-D8C7-44F7-8D9D-ADD591629649}">
      <dsp:nvSpPr>
        <dsp:cNvPr id="0" name=""/>
        <dsp:cNvSpPr/>
      </dsp:nvSpPr>
      <dsp:spPr>
        <a:xfrm>
          <a:off x="3274692" y="625611"/>
          <a:ext cx="517586" cy="1259669"/>
        </a:xfrm>
        <a:custGeom>
          <a:avLst/>
          <a:gdLst/>
          <a:ahLst/>
          <a:cxnLst/>
          <a:rect l="0" t="0" r="0" b="0"/>
          <a:pathLst>
            <a:path>
              <a:moveTo>
                <a:pt x="0" y="0"/>
              </a:moveTo>
              <a:lnTo>
                <a:pt x="0" y="1259669"/>
              </a:lnTo>
              <a:lnTo>
                <a:pt x="517586" y="1259669"/>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B252BF1-BCB2-40BF-B1B6-E3F5E7444394}">
      <dsp:nvSpPr>
        <dsp:cNvPr id="0" name=""/>
        <dsp:cNvSpPr/>
      </dsp:nvSpPr>
      <dsp:spPr>
        <a:xfrm>
          <a:off x="2757105" y="625611"/>
          <a:ext cx="517586" cy="1259669"/>
        </a:xfrm>
        <a:custGeom>
          <a:avLst/>
          <a:gdLst/>
          <a:ahLst/>
          <a:cxnLst/>
          <a:rect l="0" t="0" r="0" b="0"/>
          <a:pathLst>
            <a:path>
              <a:moveTo>
                <a:pt x="517586" y="0"/>
              </a:moveTo>
              <a:lnTo>
                <a:pt x="517586" y="1259669"/>
              </a:lnTo>
              <a:lnTo>
                <a:pt x="0" y="1259669"/>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4766B68-CFDA-490A-B14B-2EE5EAFE1E71}">
      <dsp:nvSpPr>
        <dsp:cNvPr id="0" name=""/>
        <dsp:cNvSpPr/>
      </dsp:nvSpPr>
      <dsp:spPr>
        <a:xfrm>
          <a:off x="3274692" y="625611"/>
          <a:ext cx="517586" cy="374159"/>
        </a:xfrm>
        <a:custGeom>
          <a:avLst/>
          <a:gdLst/>
          <a:ahLst/>
          <a:cxnLst/>
          <a:rect l="0" t="0" r="0" b="0"/>
          <a:pathLst>
            <a:path>
              <a:moveTo>
                <a:pt x="0" y="0"/>
              </a:moveTo>
              <a:lnTo>
                <a:pt x="0" y="374159"/>
              </a:lnTo>
              <a:lnTo>
                <a:pt x="517586" y="374159"/>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1FC5672-C1B2-43BB-9746-9A96F130FEA6}">
      <dsp:nvSpPr>
        <dsp:cNvPr id="0" name=""/>
        <dsp:cNvSpPr/>
      </dsp:nvSpPr>
      <dsp:spPr>
        <a:xfrm>
          <a:off x="2757105" y="625611"/>
          <a:ext cx="517586" cy="374159"/>
        </a:xfrm>
        <a:custGeom>
          <a:avLst/>
          <a:gdLst/>
          <a:ahLst/>
          <a:cxnLst/>
          <a:rect l="0" t="0" r="0" b="0"/>
          <a:pathLst>
            <a:path>
              <a:moveTo>
                <a:pt x="517586" y="0"/>
              </a:moveTo>
              <a:lnTo>
                <a:pt x="517586" y="374159"/>
              </a:lnTo>
              <a:lnTo>
                <a:pt x="0" y="374159"/>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ECF9C54-A461-4B26-8A1D-C23CFD32B325}">
      <dsp:nvSpPr>
        <dsp:cNvPr id="0" name=""/>
        <dsp:cNvSpPr/>
      </dsp:nvSpPr>
      <dsp:spPr>
        <a:xfrm>
          <a:off x="2962892" y="201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F0A7412-C58A-4DFD-9116-78643285014E}">
      <dsp:nvSpPr>
        <dsp:cNvPr id="0" name=""/>
        <dsp:cNvSpPr/>
      </dsp:nvSpPr>
      <dsp:spPr>
        <a:xfrm>
          <a:off x="2962892" y="201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4B2666B-7355-498A-B810-54F3BEB6E4FB}">
      <dsp:nvSpPr>
        <dsp:cNvPr id="0" name=""/>
        <dsp:cNvSpPr/>
      </dsp:nvSpPr>
      <dsp:spPr>
        <a:xfrm>
          <a:off x="2651093" y="11426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endParaRPr lang="en-US" sz="1000" b="1" kern="1200" dirty="0">
            <a:latin typeface="Raleway" pitchFamily="2" charset="0"/>
          </a:endParaRPr>
        </a:p>
        <a:p>
          <a:pPr marL="0" lvl="0" indent="0" algn="ctr" defTabSz="444500">
            <a:lnSpc>
              <a:spcPct val="90000"/>
            </a:lnSpc>
            <a:spcBef>
              <a:spcPct val="0"/>
            </a:spcBef>
            <a:spcAft>
              <a:spcPct val="35000"/>
            </a:spcAft>
            <a:buNone/>
          </a:pPr>
          <a:r>
            <a:rPr lang="en-US" sz="1000" b="1" kern="1200" dirty="0">
              <a:latin typeface="Raleway" pitchFamily="2" charset="0"/>
            </a:rPr>
            <a:t>Business Planning &amp;</a:t>
          </a:r>
        </a:p>
        <a:p>
          <a:pPr marL="0" lvl="0" indent="0" algn="ctr" defTabSz="444500">
            <a:lnSpc>
              <a:spcPct val="90000"/>
            </a:lnSpc>
            <a:spcBef>
              <a:spcPct val="0"/>
            </a:spcBef>
            <a:spcAft>
              <a:spcPct val="35000"/>
            </a:spcAft>
            <a:buNone/>
          </a:pPr>
          <a:r>
            <a:rPr lang="en-US" sz="1000" b="1" kern="1200" dirty="0">
              <a:latin typeface="Raleway" pitchFamily="2" charset="0"/>
            </a:rPr>
            <a:t> Budgeting</a:t>
          </a:r>
        </a:p>
        <a:p>
          <a:pPr marL="0" lvl="0" indent="0" algn="ctr" defTabSz="444500">
            <a:lnSpc>
              <a:spcPct val="90000"/>
            </a:lnSpc>
            <a:spcBef>
              <a:spcPct val="0"/>
            </a:spcBef>
            <a:spcAft>
              <a:spcPct val="35000"/>
            </a:spcAft>
            <a:buNone/>
          </a:pPr>
          <a:endParaRPr lang="en-US" sz="1000" kern="1200" dirty="0"/>
        </a:p>
      </dsp:txBody>
      <dsp:txXfrm>
        <a:off x="2651093" y="114260"/>
        <a:ext cx="1247197" cy="399103"/>
      </dsp:txXfrm>
    </dsp:sp>
    <dsp:sp modelId="{18773D9D-3AAD-4EFA-9EFD-D61EF09149F5}">
      <dsp:nvSpPr>
        <dsp:cNvPr id="0" name=""/>
        <dsp:cNvSpPr/>
      </dsp:nvSpPr>
      <dsp:spPr>
        <a:xfrm>
          <a:off x="2208338" y="88752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916E53E1-8B03-4809-B5C5-6FB6E56560B0}">
      <dsp:nvSpPr>
        <dsp:cNvPr id="0" name=""/>
        <dsp:cNvSpPr/>
      </dsp:nvSpPr>
      <dsp:spPr>
        <a:xfrm>
          <a:off x="2208338" y="88752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EAB08F51-017D-4B87-8100-4CBE99B7EA34}">
      <dsp:nvSpPr>
        <dsp:cNvPr id="0" name=""/>
        <dsp:cNvSpPr/>
      </dsp:nvSpPr>
      <dsp:spPr>
        <a:xfrm>
          <a:off x="1896539" y="99977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Risk Appetite </a:t>
          </a:r>
        </a:p>
        <a:p>
          <a:pPr marL="0" lvl="0" indent="0" algn="ctr" defTabSz="444500">
            <a:lnSpc>
              <a:spcPct val="90000"/>
            </a:lnSpc>
            <a:spcBef>
              <a:spcPct val="0"/>
            </a:spcBef>
            <a:spcAft>
              <a:spcPct val="35000"/>
            </a:spcAft>
            <a:buNone/>
          </a:pPr>
          <a:r>
            <a:rPr lang="en-US" sz="1000" b="1" kern="1200" dirty="0">
              <a:latin typeface="Raleway" pitchFamily="2" charset="0"/>
            </a:rPr>
            <a:t>Statement</a:t>
          </a:r>
          <a:endParaRPr lang="en-US" sz="1000" kern="1200" dirty="0"/>
        </a:p>
      </dsp:txBody>
      <dsp:txXfrm>
        <a:off x="1896539" y="999770"/>
        <a:ext cx="1247197" cy="399103"/>
      </dsp:txXfrm>
    </dsp:sp>
    <dsp:sp modelId="{EDAD7174-5676-475D-9F6B-F5FEF839527C}">
      <dsp:nvSpPr>
        <dsp:cNvPr id="0" name=""/>
        <dsp:cNvSpPr/>
      </dsp:nvSpPr>
      <dsp:spPr>
        <a:xfrm>
          <a:off x="3717446" y="88752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0D89DB1A-21D2-43B2-B3B4-14A18C7A5F21}">
      <dsp:nvSpPr>
        <dsp:cNvPr id="0" name=""/>
        <dsp:cNvSpPr/>
      </dsp:nvSpPr>
      <dsp:spPr>
        <a:xfrm>
          <a:off x="3717446" y="88752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3F34046-E0FF-48B5-A643-505AE934390C}">
      <dsp:nvSpPr>
        <dsp:cNvPr id="0" name=""/>
        <dsp:cNvSpPr/>
      </dsp:nvSpPr>
      <dsp:spPr>
        <a:xfrm>
          <a:off x="3405647" y="99977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Risk Appetite </a:t>
          </a:r>
        </a:p>
        <a:p>
          <a:pPr marL="0" lvl="0" indent="0" algn="ctr" defTabSz="444500">
            <a:lnSpc>
              <a:spcPct val="90000"/>
            </a:lnSpc>
            <a:spcBef>
              <a:spcPct val="0"/>
            </a:spcBef>
            <a:spcAft>
              <a:spcPct val="35000"/>
            </a:spcAft>
            <a:buNone/>
          </a:pPr>
          <a:r>
            <a:rPr lang="en-US" sz="1000" b="1" kern="1200" dirty="0">
              <a:latin typeface="Raleway" pitchFamily="2" charset="0"/>
            </a:rPr>
            <a:t>Statement</a:t>
          </a:r>
          <a:endParaRPr lang="en-US" sz="1000" kern="1200" dirty="0"/>
        </a:p>
      </dsp:txBody>
      <dsp:txXfrm>
        <a:off x="3405647" y="999770"/>
        <a:ext cx="1247197" cy="399103"/>
      </dsp:txXfrm>
    </dsp:sp>
    <dsp:sp modelId="{62822BE3-80E3-409A-88C6-25F0E2E4BF1A}">
      <dsp:nvSpPr>
        <dsp:cNvPr id="0" name=""/>
        <dsp:cNvSpPr/>
      </dsp:nvSpPr>
      <dsp:spPr>
        <a:xfrm>
          <a:off x="2208338" y="177303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D123748-3CEA-4D3B-BB73-D63DC39AC3E5}">
      <dsp:nvSpPr>
        <dsp:cNvPr id="0" name=""/>
        <dsp:cNvSpPr/>
      </dsp:nvSpPr>
      <dsp:spPr>
        <a:xfrm>
          <a:off x="2208338" y="177303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3A3E9886-E7DF-482C-8EC2-3BE991C8A9BE}">
      <dsp:nvSpPr>
        <dsp:cNvPr id="0" name=""/>
        <dsp:cNvSpPr/>
      </dsp:nvSpPr>
      <dsp:spPr>
        <a:xfrm>
          <a:off x="1896539" y="188528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Market Risk </a:t>
          </a:r>
        </a:p>
        <a:p>
          <a:pPr marL="0" lvl="0" indent="0" algn="ctr" defTabSz="444500">
            <a:lnSpc>
              <a:spcPct val="90000"/>
            </a:lnSpc>
            <a:spcBef>
              <a:spcPct val="0"/>
            </a:spcBef>
            <a:spcAft>
              <a:spcPct val="35000"/>
            </a:spcAft>
            <a:buNone/>
          </a:pPr>
          <a:r>
            <a:rPr lang="en-US" sz="1000" b="1" kern="1200" dirty="0">
              <a:latin typeface="Raleway" pitchFamily="2" charset="0"/>
            </a:rPr>
            <a:t>Engine &amp; Hedging</a:t>
          </a:r>
          <a:endParaRPr lang="en-US" sz="1000" kern="1200" dirty="0"/>
        </a:p>
      </dsp:txBody>
      <dsp:txXfrm>
        <a:off x="1896539" y="1885280"/>
        <a:ext cx="1247197" cy="399103"/>
      </dsp:txXfrm>
    </dsp:sp>
    <dsp:sp modelId="{AE3D0419-E476-432E-9D82-F99F52221F70}">
      <dsp:nvSpPr>
        <dsp:cNvPr id="0" name=""/>
        <dsp:cNvSpPr/>
      </dsp:nvSpPr>
      <dsp:spPr>
        <a:xfrm>
          <a:off x="3717446" y="177303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A9E8C976-A327-4476-AB8B-B63420AF4362}">
      <dsp:nvSpPr>
        <dsp:cNvPr id="0" name=""/>
        <dsp:cNvSpPr/>
      </dsp:nvSpPr>
      <dsp:spPr>
        <a:xfrm>
          <a:off x="3717446" y="177303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30DBB49E-708A-4A3B-92B8-7CC19B5E4B76}">
      <dsp:nvSpPr>
        <dsp:cNvPr id="0" name=""/>
        <dsp:cNvSpPr/>
      </dsp:nvSpPr>
      <dsp:spPr>
        <a:xfrm>
          <a:off x="3405647" y="188528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Credit Rating </a:t>
          </a:r>
        </a:p>
        <a:p>
          <a:pPr marL="0" lvl="0" indent="0" algn="ctr" defTabSz="444500">
            <a:lnSpc>
              <a:spcPct val="90000"/>
            </a:lnSpc>
            <a:spcBef>
              <a:spcPct val="0"/>
            </a:spcBef>
            <a:spcAft>
              <a:spcPct val="35000"/>
            </a:spcAft>
            <a:buNone/>
          </a:pPr>
          <a:r>
            <a:rPr lang="en-US" sz="1000" b="1" kern="1200" dirty="0">
              <a:latin typeface="Raleway" pitchFamily="2" charset="0"/>
            </a:rPr>
            <a:t>&amp; Scoring Models</a:t>
          </a:r>
          <a:endParaRPr lang="en-US" sz="1000" kern="1200" dirty="0"/>
        </a:p>
      </dsp:txBody>
      <dsp:txXfrm>
        <a:off x="3405647" y="1885280"/>
        <a:ext cx="1247197" cy="399103"/>
      </dsp:txXfrm>
    </dsp:sp>
    <dsp:sp modelId="{4218C1A3-672E-4A2F-9F1C-70464DBD661C}">
      <dsp:nvSpPr>
        <dsp:cNvPr id="0" name=""/>
        <dsp:cNvSpPr/>
      </dsp:nvSpPr>
      <dsp:spPr>
        <a:xfrm>
          <a:off x="2208338" y="265854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0A6E299A-2592-4587-BCF2-9BF0B418E738}">
      <dsp:nvSpPr>
        <dsp:cNvPr id="0" name=""/>
        <dsp:cNvSpPr/>
      </dsp:nvSpPr>
      <dsp:spPr>
        <a:xfrm>
          <a:off x="2208338" y="265854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AB9AEB0-AEC7-4627-9DE7-F15346BC918C}">
      <dsp:nvSpPr>
        <dsp:cNvPr id="0" name=""/>
        <dsp:cNvSpPr/>
      </dsp:nvSpPr>
      <dsp:spPr>
        <a:xfrm>
          <a:off x="1896539" y="277079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Operational Risk </a:t>
          </a:r>
        </a:p>
      </dsp:txBody>
      <dsp:txXfrm>
        <a:off x="1896539" y="2770790"/>
        <a:ext cx="1247197" cy="399103"/>
      </dsp:txXfrm>
    </dsp:sp>
    <dsp:sp modelId="{EEFFA529-3E3B-4639-B52B-828E951B8827}">
      <dsp:nvSpPr>
        <dsp:cNvPr id="0" name=""/>
        <dsp:cNvSpPr/>
      </dsp:nvSpPr>
      <dsp:spPr>
        <a:xfrm>
          <a:off x="3717446" y="265854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F6287557-24FD-4AEC-88D4-372C6CFD3A50}">
      <dsp:nvSpPr>
        <dsp:cNvPr id="0" name=""/>
        <dsp:cNvSpPr/>
      </dsp:nvSpPr>
      <dsp:spPr>
        <a:xfrm>
          <a:off x="3717446" y="265854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744933C-DE6F-45C4-8BF9-4AAD6AB5A16A}">
      <dsp:nvSpPr>
        <dsp:cNvPr id="0" name=""/>
        <dsp:cNvSpPr/>
      </dsp:nvSpPr>
      <dsp:spPr>
        <a:xfrm>
          <a:off x="3405647" y="277079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Retail Risk </a:t>
          </a:r>
        </a:p>
        <a:p>
          <a:pPr marL="0" lvl="0" indent="0" algn="ctr" defTabSz="444500">
            <a:lnSpc>
              <a:spcPct val="90000"/>
            </a:lnSpc>
            <a:spcBef>
              <a:spcPct val="0"/>
            </a:spcBef>
            <a:spcAft>
              <a:spcPct val="35000"/>
            </a:spcAft>
            <a:buNone/>
          </a:pPr>
          <a:r>
            <a:rPr lang="en-US" sz="1000" b="1" kern="1200" dirty="0">
              <a:latin typeface="Raleway" pitchFamily="2" charset="0"/>
            </a:rPr>
            <a:t>Analytics</a:t>
          </a:r>
          <a:endParaRPr lang="en-US" sz="1000" kern="1200" dirty="0"/>
        </a:p>
      </dsp:txBody>
      <dsp:txXfrm>
        <a:off x="3405647" y="2770790"/>
        <a:ext cx="1247197" cy="399103"/>
      </dsp:txXfrm>
    </dsp:sp>
    <dsp:sp modelId="{07C51F39-2128-4EAD-B728-847312A063A7}">
      <dsp:nvSpPr>
        <dsp:cNvPr id="0" name=""/>
        <dsp:cNvSpPr/>
      </dsp:nvSpPr>
      <dsp:spPr>
        <a:xfrm>
          <a:off x="2208338" y="3544052"/>
          <a:ext cx="623598" cy="623598"/>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62BD64B-EA3C-4B00-A953-D18B4217F6B6}">
      <dsp:nvSpPr>
        <dsp:cNvPr id="0" name=""/>
        <dsp:cNvSpPr/>
      </dsp:nvSpPr>
      <dsp:spPr>
        <a:xfrm>
          <a:off x="2208338" y="3544052"/>
          <a:ext cx="623598" cy="623598"/>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7557D423-E6D6-4237-8397-267C41FD9706}">
      <dsp:nvSpPr>
        <dsp:cNvPr id="0" name=""/>
        <dsp:cNvSpPr/>
      </dsp:nvSpPr>
      <dsp:spPr>
        <a:xfrm>
          <a:off x="1896539" y="3656300"/>
          <a:ext cx="1247197" cy="399103"/>
        </a:xfrm>
        <a:prstGeom prst="rect">
          <a:avLst/>
        </a:prstGeom>
        <a:noFill/>
        <a:ln>
          <a:noFill/>
        </a:ln>
        <a:effectLst/>
        <a:sp3d/>
      </dsp:spPr>
      <dsp:style>
        <a:lnRef idx="0">
          <a:scrgbClr r="0" g="0" b="0"/>
        </a:lnRef>
        <a:fillRef idx="1">
          <a:scrgbClr r="0" g="0" b="0"/>
        </a:fillRef>
        <a:effectRef idx="2">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Monitoring &amp; Validation</a:t>
          </a:r>
          <a:endParaRPr lang="en-US" sz="1000" kern="1200" dirty="0"/>
        </a:p>
      </dsp:txBody>
      <dsp:txXfrm>
        <a:off x="1896539" y="3656300"/>
        <a:ext cx="1247197" cy="3991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62092-8B7F-4345-B78E-908FF318E4CB}">
      <dsp:nvSpPr>
        <dsp:cNvPr id="0" name=""/>
        <dsp:cNvSpPr/>
      </dsp:nvSpPr>
      <dsp:spPr>
        <a:xfrm>
          <a:off x="2682839" y="630674"/>
          <a:ext cx="521963" cy="2163320"/>
        </a:xfrm>
        <a:custGeom>
          <a:avLst/>
          <a:gdLst/>
          <a:ahLst/>
          <a:cxnLst/>
          <a:rect l="0" t="0" r="0" b="0"/>
          <a:pathLst>
            <a:path>
              <a:moveTo>
                <a:pt x="521963" y="0"/>
              </a:moveTo>
              <a:lnTo>
                <a:pt x="521963" y="2163320"/>
              </a:lnTo>
              <a:lnTo>
                <a:pt x="0" y="2163320"/>
              </a:lnTo>
            </a:path>
          </a:pathLst>
        </a:custGeom>
        <a:noFill/>
        <a:ln w="12700" cap="flat" cmpd="sng" algn="ctr">
          <a:solidFill>
            <a:schemeClr val="accent4">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37F04250-92DA-439E-ADFA-2ED251FA5025}">
      <dsp:nvSpPr>
        <dsp:cNvPr id="0" name=""/>
        <dsp:cNvSpPr/>
      </dsp:nvSpPr>
      <dsp:spPr>
        <a:xfrm>
          <a:off x="3204803" y="630674"/>
          <a:ext cx="521963" cy="1270321"/>
        </a:xfrm>
        <a:custGeom>
          <a:avLst/>
          <a:gdLst/>
          <a:ahLst/>
          <a:cxnLst/>
          <a:rect l="0" t="0" r="0" b="0"/>
          <a:pathLst>
            <a:path>
              <a:moveTo>
                <a:pt x="0" y="0"/>
              </a:moveTo>
              <a:lnTo>
                <a:pt x="0" y="1270321"/>
              </a:lnTo>
              <a:lnTo>
                <a:pt x="521963" y="1270321"/>
              </a:lnTo>
            </a:path>
          </a:pathLst>
        </a:custGeom>
        <a:noFill/>
        <a:ln w="12700" cap="flat" cmpd="sng" algn="ctr">
          <a:solidFill>
            <a:schemeClr val="accent4">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305F79EA-6E54-41C7-8631-1E772611C2CA}">
      <dsp:nvSpPr>
        <dsp:cNvPr id="0" name=""/>
        <dsp:cNvSpPr/>
      </dsp:nvSpPr>
      <dsp:spPr>
        <a:xfrm>
          <a:off x="2682839" y="630674"/>
          <a:ext cx="521963" cy="1270321"/>
        </a:xfrm>
        <a:custGeom>
          <a:avLst/>
          <a:gdLst/>
          <a:ahLst/>
          <a:cxnLst/>
          <a:rect l="0" t="0" r="0" b="0"/>
          <a:pathLst>
            <a:path>
              <a:moveTo>
                <a:pt x="521963" y="0"/>
              </a:moveTo>
              <a:lnTo>
                <a:pt x="521963" y="1270321"/>
              </a:lnTo>
              <a:lnTo>
                <a:pt x="0" y="1270321"/>
              </a:lnTo>
            </a:path>
          </a:pathLst>
        </a:custGeom>
        <a:noFill/>
        <a:ln w="12700" cap="flat" cmpd="sng" algn="ctr">
          <a:solidFill>
            <a:schemeClr val="accent4">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4653C46C-080D-4D78-A3D1-32A169DEFA41}">
      <dsp:nvSpPr>
        <dsp:cNvPr id="0" name=""/>
        <dsp:cNvSpPr/>
      </dsp:nvSpPr>
      <dsp:spPr>
        <a:xfrm>
          <a:off x="3204803" y="630674"/>
          <a:ext cx="521963" cy="377323"/>
        </a:xfrm>
        <a:custGeom>
          <a:avLst/>
          <a:gdLst/>
          <a:ahLst/>
          <a:cxnLst/>
          <a:rect l="0" t="0" r="0" b="0"/>
          <a:pathLst>
            <a:path>
              <a:moveTo>
                <a:pt x="0" y="0"/>
              </a:moveTo>
              <a:lnTo>
                <a:pt x="0" y="377323"/>
              </a:lnTo>
              <a:lnTo>
                <a:pt x="521963" y="377323"/>
              </a:lnTo>
            </a:path>
          </a:pathLst>
        </a:custGeom>
        <a:noFill/>
        <a:ln w="12700" cap="flat" cmpd="sng" algn="ctr">
          <a:solidFill>
            <a:schemeClr val="accent4">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0B77F156-1A39-44A6-B5C9-F5AD7F0BB504}">
      <dsp:nvSpPr>
        <dsp:cNvPr id="0" name=""/>
        <dsp:cNvSpPr/>
      </dsp:nvSpPr>
      <dsp:spPr>
        <a:xfrm>
          <a:off x="2682839" y="630674"/>
          <a:ext cx="521963" cy="377323"/>
        </a:xfrm>
        <a:custGeom>
          <a:avLst/>
          <a:gdLst/>
          <a:ahLst/>
          <a:cxnLst/>
          <a:rect l="0" t="0" r="0" b="0"/>
          <a:pathLst>
            <a:path>
              <a:moveTo>
                <a:pt x="521963" y="0"/>
              </a:moveTo>
              <a:lnTo>
                <a:pt x="521963" y="377323"/>
              </a:lnTo>
              <a:lnTo>
                <a:pt x="0" y="377323"/>
              </a:lnTo>
            </a:path>
          </a:pathLst>
        </a:custGeom>
        <a:noFill/>
        <a:ln w="12700" cap="flat" cmpd="sng" algn="ctr">
          <a:solidFill>
            <a:schemeClr val="accent4">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D7F1D294-7452-4D0A-B124-B8E0AA5EA53C}">
      <dsp:nvSpPr>
        <dsp:cNvPr id="0" name=""/>
        <dsp:cNvSpPr/>
      </dsp:nvSpPr>
      <dsp:spPr>
        <a:xfrm>
          <a:off x="2890367" y="1802"/>
          <a:ext cx="628872" cy="628872"/>
        </a:xfrm>
        <a:prstGeom prst="arc">
          <a:avLst>
            <a:gd name="adj1" fmla="val 13200000"/>
            <a:gd name="adj2" fmla="val 192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56CF904C-4713-4C36-821B-5B412F075A50}">
      <dsp:nvSpPr>
        <dsp:cNvPr id="0" name=""/>
        <dsp:cNvSpPr/>
      </dsp:nvSpPr>
      <dsp:spPr>
        <a:xfrm>
          <a:off x="2890367" y="1802"/>
          <a:ext cx="628872" cy="628872"/>
        </a:xfrm>
        <a:prstGeom prst="arc">
          <a:avLst>
            <a:gd name="adj1" fmla="val 2400000"/>
            <a:gd name="adj2" fmla="val 84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1BD55A6-78CD-46F3-97CD-6C5E7F9957DB}">
      <dsp:nvSpPr>
        <dsp:cNvPr id="0" name=""/>
        <dsp:cNvSpPr/>
      </dsp:nvSpPr>
      <dsp:spPr>
        <a:xfrm>
          <a:off x="2575931" y="114999"/>
          <a:ext cx="1257744" cy="402478"/>
        </a:xfrm>
        <a:prstGeom prst="rect">
          <a:avLst/>
        </a:prstGeom>
        <a:noFill/>
        <a:ln w="6350" cap="flat" cmpd="sng" algn="ctr">
          <a:noFill/>
          <a:prstDash val="solid"/>
          <a:miter lim="800000"/>
        </a:ln>
        <a:effectLst/>
        <a:sp3d/>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Stress Testing </a:t>
          </a:r>
        </a:p>
        <a:p>
          <a:pPr marL="0" lvl="0" indent="0" algn="ctr" defTabSz="444500">
            <a:lnSpc>
              <a:spcPct val="90000"/>
            </a:lnSpc>
            <a:spcBef>
              <a:spcPct val="0"/>
            </a:spcBef>
            <a:spcAft>
              <a:spcPct val="35000"/>
            </a:spcAft>
            <a:buNone/>
          </a:pPr>
          <a:r>
            <a:rPr lang="en-US" sz="1000" b="1" kern="1200" dirty="0">
              <a:latin typeface="Raleway" pitchFamily="2" charset="0"/>
            </a:rPr>
            <a:t>Engine</a:t>
          </a:r>
          <a:endParaRPr lang="en-US" sz="1000" kern="1200" dirty="0"/>
        </a:p>
      </dsp:txBody>
      <dsp:txXfrm>
        <a:off x="2575931" y="114999"/>
        <a:ext cx="1257744" cy="402478"/>
      </dsp:txXfrm>
    </dsp:sp>
    <dsp:sp modelId="{5C31FD24-27C2-47FE-B69E-DC3B6DD313E5}">
      <dsp:nvSpPr>
        <dsp:cNvPr id="0" name=""/>
        <dsp:cNvSpPr/>
      </dsp:nvSpPr>
      <dsp:spPr>
        <a:xfrm>
          <a:off x="2129431" y="894801"/>
          <a:ext cx="628872" cy="628872"/>
        </a:xfrm>
        <a:prstGeom prst="arc">
          <a:avLst>
            <a:gd name="adj1" fmla="val 13200000"/>
            <a:gd name="adj2" fmla="val 192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93C41DE1-B94D-4EE5-8895-0741F9E74F47}">
      <dsp:nvSpPr>
        <dsp:cNvPr id="0" name=""/>
        <dsp:cNvSpPr/>
      </dsp:nvSpPr>
      <dsp:spPr>
        <a:xfrm>
          <a:off x="2129431" y="894801"/>
          <a:ext cx="628872" cy="628872"/>
        </a:xfrm>
        <a:prstGeom prst="arc">
          <a:avLst>
            <a:gd name="adj1" fmla="val 2400000"/>
            <a:gd name="adj2" fmla="val 84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3ECA1620-C2D7-4080-BC70-4DE31B8D3620}">
      <dsp:nvSpPr>
        <dsp:cNvPr id="0" name=""/>
        <dsp:cNvSpPr/>
      </dsp:nvSpPr>
      <dsp:spPr>
        <a:xfrm>
          <a:off x="1814995" y="1007998"/>
          <a:ext cx="1257744" cy="402478"/>
        </a:xfrm>
        <a:prstGeom prst="rect">
          <a:avLst/>
        </a:prstGeom>
        <a:noFill/>
        <a:ln w="6350" cap="flat" cmpd="sng" algn="ctr">
          <a:noFill/>
          <a:prstDash val="solid"/>
          <a:miter lim="800000"/>
        </a:ln>
        <a:effectLst/>
        <a:sp3d/>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Capital Planning &amp; </a:t>
          </a:r>
        </a:p>
        <a:p>
          <a:pPr marL="0" lvl="0" indent="0" algn="ctr" defTabSz="444500">
            <a:lnSpc>
              <a:spcPct val="90000"/>
            </a:lnSpc>
            <a:spcBef>
              <a:spcPct val="0"/>
            </a:spcBef>
            <a:spcAft>
              <a:spcPct val="35000"/>
            </a:spcAft>
            <a:buNone/>
          </a:pPr>
          <a:r>
            <a:rPr lang="en-US" sz="1000" b="1" kern="1200" dirty="0">
              <a:latin typeface="Raleway" pitchFamily="2" charset="0"/>
            </a:rPr>
            <a:t>Pillar II Computation</a:t>
          </a:r>
          <a:endParaRPr lang="en-US" sz="1000" kern="1200" dirty="0"/>
        </a:p>
      </dsp:txBody>
      <dsp:txXfrm>
        <a:off x="1814995" y="1007998"/>
        <a:ext cx="1257744" cy="402478"/>
      </dsp:txXfrm>
    </dsp:sp>
    <dsp:sp modelId="{27DF2045-8158-4097-AA5B-6BC1C94FC9D8}">
      <dsp:nvSpPr>
        <dsp:cNvPr id="0" name=""/>
        <dsp:cNvSpPr/>
      </dsp:nvSpPr>
      <dsp:spPr>
        <a:xfrm>
          <a:off x="3651302" y="894801"/>
          <a:ext cx="628872" cy="628872"/>
        </a:xfrm>
        <a:prstGeom prst="arc">
          <a:avLst>
            <a:gd name="adj1" fmla="val 13200000"/>
            <a:gd name="adj2" fmla="val 192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9B5CBF44-771F-437E-B2EC-01F6A7AE3A22}">
      <dsp:nvSpPr>
        <dsp:cNvPr id="0" name=""/>
        <dsp:cNvSpPr/>
      </dsp:nvSpPr>
      <dsp:spPr>
        <a:xfrm>
          <a:off x="3651302" y="894801"/>
          <a:ext cx="628872" cy="628872"/>
        </a:xfrm>
        <a:prstGeom prst="arc">
          <a:avLst>
            <a:gd name="adj1" fmla="val 2400000"/>
            <a:gd name="adj2" fmla="val 84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0BD45357-125D-43CE-BDE1-E985E755A2C4}">
      <dsp:nvSpPr>
        <dsp:cNvPr id="0" name=""/>
        <dsp:cNvSpPr/>
      </dsp:nvSpPr>
      <dsp:spPr>
        <a:xfrm>
          <a:off x="3336866" y="1007998"/>
          <a:ext cx="1257744" cy="402478"/>
        </a:xfrm>
        <a:prstGeom prst="rect">
          <a:avLst/>
        </a:prstGeom>
        <a:noFill/>
        <a:ln w="6350" cap="flat" cmpd="sng" algn="ctr">
          <a:noFill/>
          <a:prstDash val="solid"/>
          <a:miter lim="800000"/>
        </a:ln>
        <a:effectLst/>
        <a:sp3d/>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IFRS 9 – Framework </a:t>
          </a:r>
        </a:p>
        <a:p>
          <a:pPr marL="0" lvl="0" indent="0" algn="ctr" defTabSz="444500">
            <a:lnSpc>
              <a:spcPct val="90000"/>
            </a:lnSpc>
            <a:spcBef>
              <a:spcPct val="0"/>
            </a:spcBef>
            <a:spcAft>
              <a:spcPct val="35000"/>
            </a:spcAft>
            <a:buNone/>
          </a:pPr>
          <a:r>
            <a:rPr lang="en-US" sz="1000" b="1" kern="1200" dirty="0">
              <a:latin typeface="Raleway" pitchFamily="2" charset="0"/>
            </a:rPr>
            <a:t>&amp; Exp. Credit Loss</a:t>
          </a:r>
          <a:endParaRPr lang="en-US" sz="1000" kern="1200" dirty="0"/>
        </a:p>
      </dsp:txBody>
      <dsp:txXfrm>
        <a:off x="3336866" y="1007998"/>
        <a:ext cx="1257744" cy="402478"/>
      </dsp:txXfrm>
    </dsp:sp>
    <dsp:sp modelId="{3A6F7857-59B0-4C4E-B36F-33693BAB17DE}">
      <dsp:nvSpPr>
        <dsp:cNvPr id="0" name=""/>
        <dsp:cNvSpPr/>
      </dsp:nvSpPr>
      <dsp:spPr>
        <a:xfrm>
          <a:off x="2129431" y="1787799"/>
          <a:ext cx="628872" cy="628872"/>
        </a:xfrm>
        <a:prstGeom prst="arc">
          <a:avLst>
            <a:gd name="adj1" fmla="val 13200000"/>
            <a:gd name="adj2" fmla="val 192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B4523C2-B61D-49B6-9852-6C224D0AE835}">
      <dsp:nvSpPr>
        <dsp:cNvPr id="0" name=""/>
        <dsp:cNvSpPr/>
      </dsp:nvSpPr>
      <dsp:spPr>
        <a:xfrm>
          <a:off x="2129431" y="1787799"/>
          <a:ext cx="628872" cy="628872"/>
        </a:xfrm>
        <a:prstGeom prst="arc">
          <a:avLst>
            <a:gd name="adj1" fmla="val 2400000"/>
            <a:gd name="adj2" fmla="val 84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1ED2ADE8-FC81-4D84-868C-856D34E49FD2}">
      <dsp:nvSpPr>
        <dsp:cNvPr id="0" name=""/>
        <dsp:cNvSpPr/>
      </dsp:nvSpPr>
      <dsp:spPr>
        <a:xfrm>
          <a:off x="1814995" y="1900996"/>
          <a:ext cx="1257744" cy="402478"/>
        </a:xfrm>
        <a:prstGeom prst="rect">
          <a:avLst/>
        </a:prstGeom>
        <a:noFill/>
        <a:ln w="6350" cap="flat" cmpd="sng" algn="ctr">
          <a:noFill/>
          <a:prstDash val="solid"/>
          <a:miter lim="800000"/>
        </a:ln>
        <a:effectLst/>
        <a:sp3d/>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ALM: Liquidity &amp; </a:t>
          </a:r>
        </a:p>
        <a:p>
          <a:pPr marL="0" lvl="0" indent="0" algn="ctr" defTabSz="444500">
            <a:lnSpc>
              <a:spcPct val="90000"/>
            </a:lnSpc>
            <a:spcBef>
              <a:spcPct val="0"/>
            </a:spcBef>
            <a:spcAft>
              <a:spcPct val="35000"/>
            </a:spcAft>
            <a:buNone/>
          </a:pPr>
          <a:r>
            <a:rPr lang="en-US" sz="1000" b="1" kern="1200" dirty="0">
              <a:latin typeface="Raleway" pitchFamily="2" charset="0"/>
            </a:rPr>
            <a:t>Balance Sheet  Management</a:t>
          </a:r>
          <a:endParaRPr lang="en-US" sz="1000" kern="1200" dirty="0"/>
        </a:p>
      </dsp:txBody>
      <dsp:txXfrm>
        <a:off x="1814995" y="1900996"/>
        <a:ext cx="1257744" cy="402478"/>
      </dsp:txXfrm>
    </dsp:sp>
    <dsp:sp modelId="{4645032B-EAC8-4DAB-8E35-0A165B11F0F9}">
      <dsp:nvSpPr>
        <dsp:cNvPr id="0" name=""/>
        <dsp:cNvSpPr/>
      </dsp:nvSpPr>
      <dsp:spPr>
        <a:xfrm>
          <a:off x="3651302" y="1787799"/>
          <a:ext cx="628872" cy="628872"/>
        </a:xfrm>
        <a:prstGeom prst="arc">
          <a:avLst>
            <a:gd name="adj1" fmla="val 13200000"/>
            <a:gd name="adj2" fmla="val 192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B687783A-7C2B-475A-9139-7CACA10417E0}">
      <dsp:nvSpPr>
        <dsp:cNvPr id="0" name=""/>
        <dsp:cNvSpPr/>
      </dsp:nvSpPr>
      <dsp:spPr>
        <a:xfrm>
          <a:off x="3651302" y="1787799"/>
          <a:ext cx="628872" cy="628872"/>
        </a:xfrm>
        <a:prstGeom prst="arc">
          <a:avLst>
            <a:gd name="adj1" fmla="val 2400000"/>
            <a:gd name="adj2" fmla="val 84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C397795A-B3F9-412D-ADC8-9541408A0BFF}">
      <dsp:nvSpPr>
        <dsp:cNvPr id="0" name=""/>
        <dsp:cNvSpPr/>
      </dsp:nvSpPr>
      <dsp:spPr>
        <a:xfrm>
          <a:off x="3336866" y="1900996"/>
          <a:ext cx="1257744" cy="402478"/>
        </a:xfrm>
        <a:prstGeom prst="rect">
          <a:avLst/>
        </a:prstGeom>
        <a:noFill/>
        <a:ln w="6350" cap="flat" cmpd="sng" algn="ctr">
          <a:noFill/>
          <a:prstDash val="solid"/>
          <a:miter lim="800000"/>
        </a:ln>
        <a:effectLst/>
        <a:sp3d/>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Regulatory Capital </a:t>
          </a:r>
        </a:p>
        <a:p>
          <a:pPr marL="0" lvl="0" indent="0" algn="ctr" defTabSz="444500">
            <a:lnSpc>
              <a:spcPct val="90000"/>
            </a:lnSpc>
            <a:spcBef>
              <a:spcPct val="0"/>
            </a:spcBef>
            <a:spcAft>
              <a:spcPct val="35000"/>
            </a:spcAft>
            <a:buNone/>
          </a:pPr>
          <a:r>
            <a:rPr lang="en-US" sz="1000" b="1" kern="1200" dirty="0">
              <a:latin typeface="Raleway" pitchFamily="2" charset="0"/>
            </a:rPr>
            <a:t>Calculation &amp;  Reporting</a:t>
          </a:r>
          <a:endParaRPr lang="en-US" sz="1000" kern="1200" dirty="0"/>
        </a:p>
      </dsp:txBody>
      <dsp:txXfrm>
        <a:off x="3336866" y="1900996"/>
        <a:ext cx="1257744" cy="402478"/>
      </dsp:txXfrm>
    </dsp:sp>
    <dsp:sp modelId="{1EABF46B-76E2-4E4A-89D4-2A9FF49DFCFD}">
      <dsp:nvSpPr>
        <dsp:cNvPr id="0" name=""/>
        <dsp:cNvSpPr/>
      </dsp:nvSpPr>
      <dsp:spPr>
        <a:xfrm>
          <a:off x="2129431" y="2680798"/>
          <a:ext cx="628872" cy="628872"/>
        </a:xfrm>
        <a:prstGeom prst="arc">
          <a:avLst>
            <a:gd name="adj1" fmla="val 13200000"/>
            <a:gd name="adj2" fmla="val 192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260AB476-B5DD-42AD-AA74-F46262F7C05D}">
      <dsp:nvSpPr>
        <dsp:cNvPr id="0" name=""/>
        <dsp:cNvSpPr/>
      </dsp:nvSpPr>
      <dsp:spPr>
        <a:xfrm>
          <a:off x="2129431" y="2680798"/>
          <a:ext cx="628872" cy="628872"/>
        </a:xfrm>
        <a:prstGeom prst="arc">
          <a:avLst>
            <a:gd name="adj1" fmla="val 2400000"/>
            <a:gd name="adj2" fmla="val 8400000"/>
          </a:avLst>
        </a:prstGeom>
        <a:noFill/>
        <a:ln w="12700" cap="flat" cmpd="sng" algn="ctr">
          <a:solidFill>
            <a:schemeClr val="accent3">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89A85584-8F2B-41AF-8038-93F8C03A0162}">
      <dsp:nvSpPr>
        <dsp:cNvPr id="0" name=""/>
        <dsp:cNvSpPr/>
      </dsp:nvSpPr>
      <dsp:spPr>
        <a:xfrm>
          <a:off x="1814995" y="2793995"/>
          <a:ext cx="1257744" cy="402478"/>
        </a:xfrm>
        <a:prstGeom prst="rect">
          <a:avLst/>
        </a:prstGeom>
        <a:noFill/>
        <a:ln w="6350" cap="flat" cmpd="sng" algn="ctr">
          <a:noFill/>
          <a:prstDash val="solid"/>
          <a:miter lim="800000"/>
        </a:ln>
        <a:effectLst/>
        <a:sp3d/>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Risk Based Pricing &amp; </a:t>
          </a:r>
        </a:p>
        <a:p>
          <a:pPr marL="0" lvl="0" indent="0" algn="ctr" defTabSz="444500">
            <a:lnSpc>
              <a:spcPct val="90000"/>
            </a:lnSpc>
            <a:spcBef>
              <a:spcPct val="0"/>
            </a:spcBef>
            <a:spcAft>
              <a:spcPct val="35000"/>
            </a:spcAft>
            <a:buNone/>
          </a:pPr>
          <a:r>
            <a:rPr lang="en-US" sz="1000" b="1" kern="1200" dirty="0">
              <a:latin typeface="Raleway" pitchFamily="2" charset="0"/>
            </a:rPr>
            <a:t>RAROC Estimation</a:t>
          </a:r>
        </a:p>
      </dsp:txBody>
      <dsp:txXfrm>
        <a:off x="1814995" y="2793995"/>
        <a:ext cx="1257744" cy="402478"/>
      </dsp:txXfrm>
    </dsp:sp>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9/2/quickstyle/3d8">
  <dgm:title val=""/>
  <dgm:desc val=""/>
  <dgm:catLst>
    <dgm:cat type="3D" pri="11800"/>
  </dgm:catLst>
  <dgm:scene3d>
    <a:camera prst="perspectiveHeroicExtremeRightFacing" zoom="82000">
      <a:rot lat="21300000" lon="20400000" rev="180000"/>
    </a:camera>
    <a:lightRig rig="morning" dir="t">
      <a:rot lat="0" lon="0" rev="20400000"/>
    </a:lightRig>
  </dgm:scene3d>
  <dgm:styleLbl name="node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0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60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635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1520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conF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90500" prstMaterial="matte">
      <a:bevelT w="120650" h="38100"/>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solidFgAcc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152400" extrusionH="63500" prstMaterial="matte">
      <a:bevelT w="44450" h="6350" prst="relaxedInset"/>
      <a:contourClr>
        <a:schemeClr val="bg1"/>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190500" prstMaterial="matte">
      <a:bevelT w="120650" h="38100" prst="relaxedInset"/>
      <a:bevelB w="120650" h="571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9204"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1049205" name="Date Placeholder 2"/>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A7BB9F46-0D42-42AF-9A92-D30E7B12E50D}" type="datetimeFigureOut">
              <a:rPr lang="en-US" smtClean="0"/>
              <a:t>3/13/2023</a:t>
            </a:fld>
            <a:endParaRPr lang="en-US"/>
          </a:p>
        </p:txBody>
      </p:sp>
      <p:sp>
        <p:nvSpPr>
          <p:cNvPr id="1049206" name="Footer Placeholder 3"/>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1049207" name="Slide Number Placeholder 4"/>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23DFEF17-D269-4DD9-9747-08B1083B004D}"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9198"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1049199"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A1932A42-90AE-4D50-B0B1-FDB3166B303E}" type="datetimeFigureOut">
              <a:rPr lang="en-US" smtClean="0"/>
              <a:t>3/13/2023</a:t>
            </a:fld>
            <a:endParaRPr lang="en-US"/>
          </a:p>
        </p:txBody>
      </p:sp>
      <p:sp>
        <p:nvSpPr>
          <p:cNvPr id="1049200"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1049201"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49202"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1049203"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BD85B60D-E412-43DE-8ED7-EDB486AE65DF}"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85B60D-E412-43DE-8ED7-EDB486AE65DF}" type="slidenum">
              <a:rPr lang="en-US" smtClean="0"/>
              <a:t>8</a:t>
            </a:fld>
            <a:endParaRPr lang="en-US"/>
          </a:p>
        </p:txBody>
      </p:sp>
    </p:spTree>
    <p:extLst>
      <p:ext uri="{BB962C8B-B14F-4D97-AF65-F5344CB8AC3E}">
        <p14:creationId xmlns:p14="http://schemas.microsoft.com/office/powerpoint/2010/main" val="1138166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85B60D-E412-43DE-8ED7-EDB486AE65DF}" type="slidenum">
              <a:rPr lang="en-US" smtClean="0"/>
              <a:t>10</a:t>
            </a:fld>
            <a:endParaRPr lang="en-US"/>
          </a:p>
        </p:txBody>
      </p:sp>
    </p:spTree>
    <p:extLst>
      <p:ext uri="{BB962C8B-B14F-4D97-AF65-F5344CB8AC3E}">
        <p14:creationId xmlns:p14="http://schemas.microsoft.com/office/powerpoint/2010/main" val="29299630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049080"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1049081"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49082" name="Date Placeholder 3"/>
          <p:cNvSpPr>
            <a:spLocks noGrp="1"/>
          </p:cNvSpPr>
          <p:nvPr>
            <p:ph type="dt" sz="half" idx="10"/>
          </p:nvPr>
        </p:nvSpPr>
        <p:spPr/>
        <p:txBody>
          <a:bodyPr/>
          <a:lstStyle/>
          <a:p>
            <a:fld id="{E678B23A-0579-4A25-9F8C-78E5A3656303}" type="datetimeFigureOut">
              <a:rPr lang="en-US" smtClean="0"/>
              <a:t>3/13/2023</a:t>
            </a:fld>
            <a:endParaRPr lang="en-US"/>
          </a:p>
        </p:txBody>
      </p:sp>
      <p:sp>
        <p:nvSpPr>
          <p:cNvPr id="1049083" name="Footer Placeholder 4"/>
          <p:cNvSpPr>
            <a:spLocks noGrp="1"/>
          </p:cNvSpPr>
          <p:nvPr>
            <p:ph type="ftr" sz="quarter" idx="11"/>
          </p:nvPr>
        </p:nvSpPr>
        <p:spPr/>
        <p:txBody>
          <a:bodyPr/>
          <a:lstStyle/>
          <a:p>
            <a:endParaRPr lang="en-US"/>
          </a:p>
        </p:txBody>
      </p:sp>
      <p:sp>
        <p:nvSpPr>
          <p:cNvPr id="1049084" name="Slide Number Placeholder 5"/>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1048598" name="Date Placeholder 1"/>
          <p:cNvSpPr>
            <a:spLocks noGrp="1"/>
          </p:cNvSpPr>
          <p:nvPr>
            <p:ph type="dt" sz="half" idx="10"/>
          </p:nvPr>
        </p:nvSpPr>
        <p:spPr/>
        <p:txBody>
          <a:bodyPr/>
          <a:lstStyle/>
          <a:p>
            <a:fld id="{E678B23A-0579-4A25-9F8C-78E5A3656303}" type="datetimeFigureOut">
              <a:rPr lang="en-US" smtClean="0"/>
              <a:t>3/13/2023</a:t>
            </a:fld>
            <a:endParaRPr lang="en-US"/>
          </a:p>
        </p:txBody>
      </p:sp>
      <p:sp>
        <p:nvSpPr>
          <p:cNvPr id="1048599" name="Footer Placeholder 2"/>
          <p:cNvSpPr>
            <a:spLocks noGrp="1"/>
          </p:cNvSpPr>
          <p:nvPr>
            <p:ph type="ftr" sz="quarter" idx="11"/>
          </p:nvPr>
        </p:nvSpPr>
        <p:spPr/>
        <p:txBody>
          <a:bodyPr/>
          <a:lstStyle/>
          <a:p>
            <a:endParaRPr lang="en-US"/>
          </a:p>
        </p:txBody>
      </p:sp>
      <p:sp>
        <p:nvSpPr>
          <p:cNvPr id="1048600" name="Slide Number Placeholder 3"/>
          <p:cNvSpPr>
            <a:spLocks noGrp="1"/>
          </p:cNvSpPr>
          <p:nvPr>
            <p:ph type="sldNum" sz="quarter" idx="12"/>
          </p:nvPr>
        </p:nvSpPr>
        <p:spPr/>
        <p:txBody>
          <a:bodyPr/>
          <a:lstStyle/>
          <a:p>
            <a:fld id="{12E23B96-1AB6-4DC3-967E-E6BAEB81CC22}" type="slidenum">
              <a:rPr lang="en-US" smtClean="0"/>
              <a:t>‹#›</a:t>
            </a:fld>
            <a:endParaRPr lang="en-US"/>
          </a:p>
        </p:txBody>
      </p:sp>
      <p:sp>
        <p:nvSpPr>
          <p:cNvPr id="1048601" name="Rectangle 5"/>
          <p:cNvSpPr/>
          <p:nvPr userDrawn="1"/>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97158" name="Picture 6"/>
          <p:cNvPicPr>
            <a:picLocks noChangeAspect="1"/>
          </p:cNvPicPr>
          <p:nvPr userDrawn="1"/>
        </p:nvPicPr>
        <p:blipFill rotWithShape="1">
          <a:blip r:embed="rId2"/>
          <a:srcRect t="22084" b="36867"/>
          <a:stretch>
            <a:fillRect/>
          </a:stretch>
        </p:blipFill>
        <p:spPr>
          <a:xfrm>
            <a:off x="92107" y="6178181"/>
            <a:ext cx="1492186" cy="285798"/>
          </a:xfrm>
          <a:prstGeom prst="rect">
            <a:avLst/>
          </a:prstGeom>
          <a:effectLst>
            <a:reflection blurRad="6350" stA="50000" endA="300" endPos="65000" dir="5400000" sy="-100000" algn="bl" rotWithShape="0"/>
          </a:effectLst>
        </p:spPr>
      </p:pic>
      <p:pic>
        <p:nvPicPr>
          <p:cNvPr id="2097159" name="Picture 7"/>
          <p:cNvPicPr>
            <a:picLocks noChangeAspect="1"/>
          </p:cNvPicPr>
          <p:nvPr userDrawn="1"/>
        </p:nvPicPr>
        <p:blipFill rotWithShape="1">
          <a:blip r:embed="rId3" cstate="print"/>
          <a:srcRect l="16638" t="17440" r="19607" b="5712"/>
          <a:stretch>
            <a:fillRect/>
          </a:stretch>
        </p:blipFill>
        <p:spPr>
          <a:xfrm>
            <a:off x="11516264" y="6206484"/>
            <a:ext cx="453493" cy="514991"/>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048737" name="Date Placeholder 1"/>
          <p:cNvSpPr>
            <a:spLocks noGrp="1"/>
          </p:cNvSpPr>
          <p:nvPr>
            <p:ph type="dt" sz="half" idx="10"/>
          </p:nvPr>
        </p:nvSpPr>
        <p:spPr/>
        <p:txBody>
          <a:bodyPr/>
          <a:lstStyle/>
          <a:p>
            <a:fld id="{E678B23A-0579-4A25-9F8C-78E5A3656303}" type="datetimeFigureOut">
              <a:rPr lang="en-US" smtClean="0"/>
              <a:t>3/13/2023</a:t>
            </a:fld>
            <a:endParaRPr lang="en-US"/>
          </a:p>
        </p:txBody>
      </p:sp>
      <p:sp>
        <p:nvSpPr>
          <p:cNvPr id="1048738" name="Footer Placeholder 2"/>
          <p:cNvSpPr>
            <a:spLocks noGrp="1"/>
          </p:cNvSpPr>
          <p:nvPr>
            <p:ph type="ftr" sz="quarter" idx="11"/>
          </p:nvPr>
        </p:nvSpPr>
        <p:spPr/>
        <p:txBody>
          <a:bodyPr/>
          <a:lstStyle/>
          <a:p>
            <a:endParaRPr lang="en-US"/>
          </a:p>
        </p:txBody>
      </p:sp>
      <p:sp>
        <p:nvSpPr>
          <p:cNvPr id="1048739" name="Slide Number Placeholder 3"/>
          <p:cNvSpPr>
            <a:spLocks noGrp="1"/>
          </p:cNvSpPr>
          <p:nvPr>
            <p:ph type="sldNum" sz="quarter" idx="12"/>
          </p:nvPr>
        </p:nvSpPr>
        <p:spPr/>
        <p:txBody>
          <a:bodyPr/>
          <a:lstStyle/>
          <a:p>
            <a:fld id="{12E23B96-1AB6-4DC3-967E-E6BAEB81CC22}" type="slidenum">
              <a:rPr lang="en-US" smtClean="0"/>
              <a:t>‹#›</a:t>
            </a:fld>
            <a:endParaRPr lang="en-US"/>
          </a:p>
        </p:txBody>
      </p:sp>
      <p:sp>
        <p:nvSpPr>
          <p:cNvPr id="1048740" name="Rectangle 5"/>
          <p:cNvSpPr/>
          <p:nvPr userDrawn="1"/>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049127"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1049128"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129"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49130" name="Date Placeholder 4"/>
          <p:cNvSpPr>
            <a:spLocks noGrp="1"/>
          </p:cNvSpPr>
          <p:nvPr>
            <p:ph type="dt" sz="half" idx="10"/>
          </p:nvPr>
        </p:nvSpPr>
        <p:spPr/>
        <p:txBody>
          <a:bodyPr/>
          <a:lstStyle/>
          <a:p>
            <a:fld id="{E678B23A-0579-4A25-9F8C-78E5A3656303}" type="datetimeFigureOut">
              <a:rPr lang="en-US" smtClean="0"/>
              <a:t>3/13/2023</a:t>
            </a:fld>
            <a:endParaRPr lang="en-US"/>
          </a:p>
        </p:txBody>
      </p:sp>
      <p:sp>
        <p:nvSpPr>
          <p:cNvPr id="1049131" name="Footer Placeholder 5"/>
          <p:cNvSpPr>
            <a:spLocks noGrp="1"/>
          </p:cNvSpPr>
          <p:nvPr>
            <p:ph type="ftr" sz="quarter" idx="11"/>
          </p:nvPr>
        </p:nvSpPr>
        <p:spPr/>
        <p:txBody>
          <a:bodyPr/>
          <a:lstStyle/>
          <a:p>
            <a:endParaRPr lang="en-US"/>
          </a:p>
        </p:txBody>
      </p:sp>
      <p:sp>
        <p:nvSpPr>
          <p:cNvPr id="1049132" name="Slide Number Placeholder 6"/>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049148"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1049149"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049150"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49151" name="Date Placeholder 4"/>
          <p:cNvSpPr>
            <a:spLocks noGrp="1"/>
          </p:cNvSpPr>
          <p:nvPr>
            <p:ph type="dt" sz="half" idx="10"/>
          </p:nvPr>
        </p:nvSpPr>
        <p:spPr/>
        <p:txBody>
          <a:bodyPr/>
          <a:lstStyle/>
          <a:p>
            <a:fld id="{E678B23A-0579-4A25-9F8C-78E5A3656303}" type="datetimeFigureOut">
              <a:rPr lang="en-US" smtClean="0"/>
              <a:t>3/13/2023</a:t>
            </a:fld>
            <a:endParaRPr lang="en-US"/>
          </a:p>
        </p:txBody>
      </p:sp>
      <p:sp>
        <p:nvSpPr>
          <p:cNvPr id="1049152" name="Footer Placeholder 5"/>
          <p:cNvSpPr>
            <a:spLocks noGrp="1"/>
          </p:cNvSpPr>
          <p:nvPr>
            <p:ph type="ftr" sz="quarter" idx="11"/>
          </p:nvPr>
        </p:nvSpPr>
        <p:spPr/>
        <p:txBody>
          <a:bodyPr/>
          <a:lstStyle/>
          <a:p>
            <a:endParaRPr lang="en-US"/>
          </a:p>
        </p:txBody>
      </p:sp>
      <p:sp>
        <p:nvSpPr>
          <p:cNvPr id="1049153" name="Slide Number Placeholder 6"/>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1049189" name="Title 1"/>
          <p:cNvSpPr>
            <a:spLocks noGrp="1"/>
          </p:cNvSpPr>
          <p:nvPr>
            <p:ph type="title"/>
          </p:nvPr>
        </p:nvSpPr>
        <p:spPr/>
        <p:txBody>
          <a:bodyPr/>
          <a:lstStyle/>
          <a:p>
            <a:r>
              <a:rPr lang="en-US"/>
              <a:t>Click to edit Master title style</a:t>
            </a:r>
          </a:p>
        </p:txBody>
      </p:sp>
      <p:sp>
        <p:nvSpPr>
          <p:cNvPr id="1049190"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191" name="Date Placeholder 3"/>
          <p:cNvSpPr>
            <a:spLocks noGrp="1"/>
          </p:cNvSpPr>
          <p:nvPr>
            <p:ph type="dt" sz="half" idx="10"/>
          </p:nvPr>
        </p:nvSpPr>
        <p:spPr/>
        <p:txBody>
          <a:bodyPr/>
          <a:lstStyle/>
          <a:p>
            <a:fld id="{E678B23A-0579-4A25-9F8C-78E5A3656303}" type="datetimeFigureOut">
              <a:rPr lang="en-US" smtClean="0"/>
              <a:t>3/13/2023</a:t>
            </a:fld>
            <a:endParaRPr lang="en-US"/>
          </a:p>
        </p:txBody>
      </p:sp>
      <p:sp>
        <p:nvSpPr>
          <p:cNvPr id="1049192" name="Footer Placeholder 4"/>
          <p:cNvSpPr>
            <a:spLocks noGrp="1"/>
          </p:cNvSpPr>
          <p:nvPr>
            <p:ph type="ftr" sz="quarter" idx="11"/>
          </p:nvPr>
        </p:nvSpPr>
        <p:spPr/>
        <p:txBody>
          <a:bodyPr/>
          <a:lstStyle/>
          <a:p>
            <a:endParaRPr lang="en-US"/>
          </a:p>
        </p:txBody>
      </p:sp>
      <p:sp>
        <p:nvSpPr>
          <p:cNvPr id="1049193" name="Slide Number Placeholder 5"/>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049043"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1049044"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045" name="Date Placeholder 3"/>
          <p:cNvSpPr>
            <a:spLocks noGrp="1"/>
          </p:cNvSpPr>
          <p:nvPr>
            <p:ph type="dt" sz="half" idx="10"/>
          </p:nvPr>
        </p:nvSpPr>
        <p:spPr/>
        <p:txBody>
          <a:bodyPr/>
          <a:lstStyle/>
          <a:p>
            <a:fld id="{E678B23A-0579-4A25-9F8C-78E5A3656303}" type="datetimeFigureOut">
              <a:rPr lang="en-US" smtClean="0"/>
              <a:t>3/13/2023</a:t>
            </a:fld>
            <a:endParaRPr lang="en-US"/>
          </a:p>
        </p:txBody>
      </p:sp>
      <p:sp>
        <p:nvSpPr>
          <p:cNvPr id="1049046" name="Footer Placeholder 4"/>
          <p:cNvSpPr>
            <a:spLocks noGrp="1"/>
          </p:cNvSpPr>
          <p:nvPr>
            <p:ph type="ftr" sz="quarter" idx="11"/>
          </p:nvPr>
        </p:nvSpPr>
        <p:spPr/>
        <p:txBody>
          <a:bodyPr/>
          <a:lstStyle/>
          <a:p>
            <a:endParaRPr lang="en-US"/>
          </a:p>
        </p:txBody>
      </p:sp>
      <p:sp>
        <p:nvSpPr>
          <p:cNvPr id="1049047" name="Slide Number Placeholder 5"/>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48581" name="Picture Placeholder 8"/>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1049108" name="Picture Placeholder 8"/>
          <p:cNvSpPr>
            <a:spLocks noGrp="1"/>
          </p:cNvSpPr>
          <p:nvPr>
            <p:ph type="pic" sz="quarter" idx="10"/>
          </p:nvPr>
        </p:nvSpPr>
        <p:spPr>
          <a:xfrm>
            <a:off x="0" y="0"/>
            <a:ext cx="5678424"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48592" name="Rectangle 3"/>
          <p:cNvSpPr/>
          <p:nvPr userDrawn="1"/>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049106" name="Picture Placeholder 7"/>
          <p:cNvSpPr>
            <a:spLocks noGrp="1"/>
          </p:cNvSpPr>
          <p:nvPr>
            <p:ph type="pic" sz="quarter" idx="10"/>
          </p:nvPr>
        </p:nvSpPr>
        <p:spPr>
          <a:xfrm>
            <a:off x="0" y="0"/>
            <a:ext cx="5943600" cy="6858000"/>
          </a:xfrm>
          <a:custGeom>
            <a:avLst/>
            <a:gdLst>
              <a:gd name="connsiteX0" fmla="*/ 0 w 4523398"/>
              <a:gd name="connsiteY0" fmla="*/ 0 h 6858000"/>
              <a:gd name="connsiteX1" fmla="*/ 4523398 w 4523398"/>
              <a:gd name="connsiteY1" fmla="*/ 0 h 6858000"/>
              <a:gd name="connsiteX2" fmla="*/ 4523398 w 4523398"/>
              <a:gd name="connsiteY2" fmla="*/ 6858000 h 6858000"/>
              <a:gd name="connsiteX3" fmla="*/ 0 w 45233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23398" h="6858000">
                <a:moveTo>
                  <a:pt x="0" y="0"/>
                </a:moveTo>
                <a:lnTo>
                  <a:pt x="4523398" y="0"/>
                </a:lnTo>
                <a:lnTo>
                  <a:pt x="4523398" y="6858000"/>
                </a:lnTo>
                <a:lnTo>
                  <a:pt x="0" y="68580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dirty="0"/>
          </a:p>
        </p:txBody>
      </p:sp>
      <p:sp>
        <p:nvSpPr>
          <p:cNvPr id="1049107" name="Rectangle 3"/>
          <p:cNvSpPr/>
          <p:nvPr userDrawn="1"/>
        </p:nvSpPr>
        <p:spPr>
          <a:xfrm>
            <a:off x="5943600" y="6784848"/>
            <a:ext cx="6248400" cy="73152"/>
          </a:xfrm>
          <a:prstGeom prst="rect">
            <a:avLst/>
          </a:prstGeom>
          <a:gradFill>
            <a:gsLst>
              <a:gs pos="0">
                <a:srgbClr val="BDD598"/>
              </a:gs>
              <a:gs pos="100000">
                <a:srgbClr val="53771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7276" name="object 3"/>
          <p:cNvPicPr>
            <a:picLocks/>
          </p:cNvPicPr>
          <p:nvPr userDrawn="1"/>
        </p:nvPicPr>
        <p:blipFill>
          <a:blip r:embed="rId2" cstate="print"/>
          <a:stretch>
            <a:fillRect/>
          </a:stretch>
        </p:blipFill>
        <p:spPr>
          <a:xfrm>
            <a:off x="10873511" y="6243779"/>
            <a:ext cx="1219621" cy="47034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049064" name="Title 1"/>
          <p:cNvSpPr>
            <a:spLocks noGrp="1"/>
          </p:cNvSpPr>
          <p:nvPr>
            <p:ph type="title"/>
          </p:nvPr>
        </p:nvSpPr>
        <p:spPr/>
        <p:txBody>
          <a:bodyPr/>
          <a:lstStyle/>
          <a:p>
            <a:r>
              <a:rPr lang="en-US"/>
              <a:t>Click to edit Master title style</a:t>
            </a:r>
          </a:p>
        </p:txBody>
      </p:sp>
      <p:sp>
        <p:nvSpPr>
          <p:cNvPr id="1049065"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066" name="Date Placeholder 3"/>
          <p:cNvSpPr>
            <a:spLocks noGrp="1"/>
          </p:cNvSpPr>
          <p:nvPr>
            <p:ph type="dt" sz="half" idx="10"/>
          </p:nvPr>
        </p:nvSpPr>
        <p:spPr/>
        <p:txBody>
          <a:bodyPr/>
          <a:lstStyle/>
          <a:p>
            <a:fld id="{E678B23A-0579-4A25-9F8C-78E5A3656303}" type="datetimeFigureOut">
              <a:rPr lang="en-US" smtClean="0"/>
              <a:t>3/13/2023</a:t>
            </a:fld>
            <a:endParaRPr lang="en-US"/>
          </a:p>
        </p:txBody>
      </p:sp>
      <p:sp>
        <p:nvSpPr>
          <p:cNvPr id="1049067" name="Footer Placeholder 4"/>
          <p:cNvSpPr>
            <a:spLocks noGrp="1"/>
          </p:cNvSpPr>
          <p:nvPr>
            <p:ph type="ftr" sz="quarter" idx="11"/>
          </p:nvPr>
        </p:nvSpPr>
        <p:spPr/>
        <p:txBody>
          <a:bodyPr/>
          <a:lstStyle/>
          <a:p>
            <a:endParaRPr lang="en-US"/>
          </a:p>
        </p:txBody>
      </p:sp>
      <p:sp>
        <p:nvSpPr>
          <p:cNvPr id="1049068" name="Slide Number Placeholder 5"/>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1049136" name="Picture Placeholder 7"/>
          <p:cNvSpPr>
            <a:spLocks noGrp="1"/>
          </p:cNvSpPr>
          <p:nvPr>
            <p:ph type="pic" sz="quarter" idx="10"/>
          </p:nvPr>
        </p:nvSpPr>
        <p:spPr>
          <a:xfrm>
            <a:off x="6248400" y="0"/>
            <a:ext cx="5943600" cy="6858000"/>
          </a:xfrm>
          <a:custGeom>
            <a:avLst/>
            <a:gdLst>
              <a:gd name="connsiteX0" fmla="*/ 0 w 4523398"/>
              <a:gd name="connsiteY0" fmla="*/ 0 h 6858000"/>
              <a:gd name="connsiteX1" fmla="*/ 4523398 w 4523398"/>
              <a:gd name="connsiteY1" fmla="*/ 0 h 6858000"/>
              <a:gd name="connsiteX2" fmla="*/ 4523398 w 4523398"/>
              <a:gd name="connsiteY2" fmla="*/ 6858000 h 6858000"/>
              <a:gd name="connsiteX3" fmla="*/ 0 w 45233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523398" h="6858000">
                <a:moveTo>
                  <a:pt x="0" y="0"/>
                </a:moveTo>
                <a:lnTo>
                  <a:pt x="4523398" y="0"/>
                </a:lnTo>
                <a:lnTo>
                  <a:pt x="4523398" y="6858000"/>
                </a:lnTo>
                <a:lnTo>
                  <a:pt x="0" y="68580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dirty="0"/>
          </a:p>
        </p:txBody>
      </p:sp>
      <p:sp>
        <p:nvSpPr>
          <p:cNvPr id="1049137" name="Rectangle 2"/>
          <p:cNvSpPr/>
          <p:nvPr userDrawn="1"/>
        </p:nvSpPr>
        <p:spPr>
          <a:xfrm>
            <a:off x="0" y="6784848"/>
            <a:ext cx="6248400" cy="73152"/>
          </a:xfrm>
          <a:prstGeom prst="rect">
            <a:avLst/>
          </a:prstGeom>
          <a:gradFill>
            <a:gsLst>
              <a:gs pos="0">
                <a:srgbClr val="00B0F0"/>
              </a:gs>
              <a:gs pos="100000">
                <a:srgbClr val="00206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049094" name="Rectangle 4"/>
          <p:cNvSpPr/>
          <p:nvPr userDrawn="1"/>
        </p:nvSpPr>
        <p:spPr>
          <a:xfrm>
            <a:off x="8047264" y="252980"/>
            <a:ext cx="3850821" cy="6091694"/>
          </a:xfrm>
          <a:prstGeom prst="rect">
            <a:avLst/>
          </a:prstGeom>
          <a:gradFill>
            <a:gsLst>
              <a:gs pos="0">
                <a:srgbClr val="BDD598"/>
              </a:gs>
              <a:gs pos="100000">
                <a:srgbClr val="53771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95" name="Picture Placeholder 9"/>
          <p:cNvSpPr>
            <a:spLocks noGrp="1"/>
          </p:cNvSpPr>
          <p:nvPr>
            <p:ph type="pic" sz="quarter" idx="10"/>
          </p:nvPr>
        </p:nvSpPr>
        <p:spPr>
          <a:xfrm>
            <a:off x="7429500" y="427152"/>
            <a:ext cx="4250871" cy="6091694"/>
          </a:xfrm>
          <a:custGeom>
            <a:avLst/>
            <a:gdLst>
              <a:gd name="connsiteX0" fmla="*/ 0 w 3640364"/>
              <a:gd name="connsiteY0" fmla="*/ 0 h 5758768"/>
              <a:gd name="connsiteX1" fmla="*/ 3640364 w 3640364"/>
              <a:gd name="connsiteY1" fmla="*/ 0 h 5758768"/>
              <a:gd name="connsiteX2" fmla="*/ 3640364 w 3640364"/>
              <a:gd name="connsiteY2" fmla="*/ 5758768 h 5758768"/>
              <a:gd name="connsiteX3" fmla="*/ 0 w 3640364"/>
              <a:gd name="connsiteY3" fmla="*/ 5758768 h 5758768"/>
            </a:gdLst>
            <a:ahLst/>
            <a:cxnLst>
              <a:cxn ang="0">
                <a:pos x="connsiteX0" y="connsiteY0"/>
              </a:cxn>
              <a:cxn ang="0">
                <a:pos x="connsiteX1" y="connsiteY1"/>
              </a:cxn>
              <a:cxn ang="0">
                <a:pos x="connsiteX2" y="connsiteY2"/>
              </a:cxn>
              <a:cxn ang="0">
                <a:pos x="connsiteX3" y="connsiteY3"/>
              </a:cxn>
            </a:cxnLst>
            <a:rect l="l" t="t" r="r" b="b"/>
            <a:pathLst>
              <a:path w="3640364" h="5758768">
                <a:moveTo>
                  <a:pt x="0" y="0"/>
                </a:moveTo>
                <a:lnTo>
                  <a:pt x="3640364" y="0"/>
                </a:lnTo>
                <a:lnTo>
                  <a:pt x="3640364" y="5758768"/>
                </a:lnTo>
                <a:lnTo>
                  <a:pt x="0" y="5758768"/>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96" name="Rectangle 3"/>
          <p:cNvSpPr/>
          <p:nvPr userDrawn="1"/>
        </p:nvSpPr>
        <p:spPr>
          <a:xfrm>
            <a:off x="0" y="6784848"/>
            <a:ext cx="12192000" cy="73152"/>
          </a:xfrm>
          <a:prstGeom prst="rect">
            <a:avLst/>
          </a:prstGeom>
          <a:gradFill>
            <a:gsLst>
              <a:gs pos="0">
                <a:srgbClr val="BDD598"/>
              </a:gs>
              <a:gs pos="100000">
                <a:srgbClr val="53771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7275" name="object 3"/>
          <p:cNvPicPr>
            <a:picLocks/>
          </p:cNvPicPr>
          <p:nvPr userDrawn="1"/>
        </p:nvPicPr>
        <p:blipFill>
          <a:blip r:embed="rId2" cstate="print"/>
          <a:stretch>
            <a:fillRect/>
          </a:stretch>
        </p:blipFill>
        <p:spPr>
          <a:xfrm>
            <a:off x="94674" y="6243780"/>
            <a:ext cx="1219621" cy="470347"/>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49097" name="Rectangle 6"/>
          <p:cNvSpPr/>
          <p:nvPr userDrawn="1"/>
        </p:nvSpPr>
        <p:spPr>
          <a:xfrm>
            <a:off x="10115550" y="486335"/>
            <a:ext cx="1466850" cy="392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98" name="Picture Placeholder 8"/>
          <p:cNvSpPr>
            <a:spLocks noGrp="1"/>
          </p:cNvSpPr>
          <p:nvPr>
            <p:ph type="pic" sz="quarter" idx="10"/>
          </p:nvPr>
        </p:nvSpPr>
        <p:spPr>
          <a:xfrm>
            <a:off x="5105400" y="704850"/>
            <a:ext cx="6210300" cy="5448300"/>
          </a:xfrm>
          <a:custGeom>
            <a:avLst/>
            <a:gdLst>
              <a:gd name="connsiteX0" fmla="*/ 0 w 6210300"/>
              <a:gd name="connsiteY0" fmla="*/ 0 h 5448300"/>
              <a:gd name="connsiteX1" fmla="*/ 6210300 w 6210300"/>
              <a:gd name="connsiteY1" fmla="*/ 0 h 5448300"/>
              <a:gd name="connsiteX2" fmla="*/ 6210300 w 6210300"/>
              <a:gd name="connsiteY2" fmla="*/ 5448300 h 5448300"/>
              <a:gd name="connsiteX3" fmla="*/ 0 w 6210300"/>
              <a:gd name="connsiteY3" fmla="*/ 5448300 h 5448300"/>
            </a:gdLst>
            <a:ahLst/>
            <a:cxnLst>
              <a:cxn ang="0">
                <a:pos x="connsiteX0" y="connsiteY0"/>
              </a:cxn>
              <a:cxn ang="0">
                <a:pos x="connsiteX1" y="connsiteY1"/>
              </a:cxn>
              <a:cxn ang="0">
                <a:pos x="connsiteX2" y="connsiteY2"/>
              </a:cxn>
              <a:cxn ang="0">
                <a:pos x="connsiteX3" y="connsiteY3"/>
              </a:cxn>
            </a:cxnLst>
            <a:rect l="l" t="t" r="r" b="b"/>
            <a:pathLst>
              <a:path w="6210300" h="5448300">
                <a:moveTo>
                  <a:pt x="0" y="0"/>
                </a:moveTo>
                <a:lnTo>
                  <a:pt x="6210300" y="0"/>
                </a:lnTo>
                <a:lnTo>
                  <a:pt x="6210300" y="5448300"/>
                </a:lnTo>
                <a:lnTo>
                  <a:pt x="0" y="54483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99" name="Rectangle 3"/>
          <p:cNvSpPr/>
          <p:nvPr userDrawn="1"/>
        </p:nvSpPr>
        <p:spPr>
          <a:xfrm>
            <a:off x="0" y="6784848"/>
            <a:ext cx="12192000" cy="73152"/>
          </a:xfrm>
          <a:prstGeom prst="rect">
            <a:avLst/>
          </a:prstGeom>
          <a:solidFill>
            <a:srgbClr val="0087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049109" name="Picture Placeholder 7"/>
          <p:cNvSpPr>
            <a:spLocks noGrp="1"/>
          </p:cNvSpPr>
          <p:nvPr>
            <p:ph type="pic" sz="quarter" idx="10"/>
          </p:nvPr>
        </p:nvSpPr>
        <p:spPr>
          <a:xfrm>
            <a:off x="754743" y="685800"/>
            <a:ext cx="5341257" cy="5486400"/>
          </a:xfrm>
          <a:custGeom>
            <a:avLst/>
            <a:gdLst>
              <a:gd name="connsiteX0" fmla="*/ 0 w 5341257"/>
              <a:gd name="connsiteY0" fmla="*/ 0 h 5486400"/>
              <a:gd name="connsiteX1" fmla="*/ 5341257 w 5341257"/>
              <a:gd name="connsiteY1" fmla="*/ 0 h 5486400"/>
              <a:gd name="connsiteX2" fmla="*/ 5341257 w 5341257"/>
              <a:gd name="connsiteY2" fmla="*/ 5486400 h 5486400"/>
              <a:gd name="connsiteX3" fmla="*/ 0 w 5341257"/>
              <a:gd name="connsiteY3" fmla="*/ 5486400 h 5486400"/>
            </a:gdLst>
            <a:ahLst/>
            <a:cxnLst>
              <a:cxn ang="0">
                <a:pos x="connsiteX0" y="connsiteY0"/>
              </a:cxn>
              <a:cxn ang="0">
                <a:pos x="connsiteX1" y="connsiteY1"/>
              </a:cxn>
              <a:cxn ang="0">
                <a:pos x="connsiteX2" y="connsiteY2"/>
              </a:cxn>
              <a:cxn ang="0">
                <a:pos x="connsiteX3" y="connsiteY3"/>
              </a:cxn>
            </a:cxnLst>
            <a:rect l="l" t="t" r="r" b="b"/>
            <a:pathLst>
              <a:path w="5341257" h="5486400">
                <a:moveTo>
                  <a:pt x="0" y="0"/>
                </a:moveTo>
                <a:lnTo>
                  <a:pt x="5341257" y="0"/>
                </a:lnTo>
                <a:lnTo>
                  <a:pt x="5341257" y="5486400"/>
                </a:lnTo>
                <a:lnTo>
                  <a:pt x="0" y="54864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49039" name="Picture Placeholder 7"/>
          <p:cNvSpPr>
            <a:spLocks noGrp="1"/>
          </p:cNvSpPr>
          <p:nvPr>
            <p:ph type="pic" sz="quarter" idx="10"/>
          </p:nvPr>
        </p:nvSpPr>
        <p:spPr>
          <a:xfrm>
            <a:off x="0" y="0"/>
            <a:ext cx="6858000" cy="6858000"/>
          </a:xfrm>
          <a:custGeom>
            <a:avLst/>
            <a:gdLst>
              <a:gd name="connsiteX0" fmla="*/ 0 w 7097486"/>
              <a:gd name="connsiteY0" fmla="*/ 0 h 5308769"/>
              <a:gd name="connsiteX1" fmla="*/ 7097486 w 7097486"/>
              <a:gd name="connsiteY1" fmla="*/ 0 h 5308769"/>
              <a:gd name="connsiteX2" fmla="*/ 7097486 w 7097486"/>
              <a:gd name="connsiteY2" fmla="*/ 5308769 h 5308769"/>
              <a:gd name="connsiteX3" fmla="*/ 0 w 7097486"/>
              <a:gd name="connsiteY3" fmla="*/ 5308769 h 5308769"/>
            </a:gdLst>
            <a:ahLst/>
            <a:cxnLst>
              <a:cxn ang="0">
                <a:pos x="connsiteX0" y="connsiteY0"/>
              </a:cxn>
              <a:cxn ang="0">
                <a:pos x="connsiteX1" y="connsiteY1"/>
              </a:cxn>
              <a:cxn ang="0">
                <a:pos x="connsiteX2" y="connsiteY2"/>
              </a:cxn>
              <a:cxn ang="0">
                <a:pos x="connsiteX3" y="connsiteY3"/>
              </a:cxn>
            </a:cxnLst>
            <a:rect l="l" t="t" r="r" b="b"/>
            <a:pathLst>
              <a:path w="7097486" h="5308769">
                <a:moveTo>
                  <a:pt x="0" y="0"/>
                </a:moveTo>
                <a:lnTo>
                  <a:pt x="7097486" y="0"/>
                </a:lnTo>
                <a:lnTo>
                  <a:pt x="7097486" y="5308769"/>
                </a:lnTo>
                <a:lnTo>
                  <a:pt x="0" y="530876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49060" name="Picture Placeholder 10"/>
          <p:cNvSpPr>
            <a:spLocks noGrp="1"/>
          </p:cNvSpPr>
          <p:nvPr>
            <p:ph type="pic" sz="quarter" idx="10"/>
          </p:nvPr>
        </p:nvSpPr>
        <p:spPr>
          <a:xfrm>
            <a:off x="1103084" y="3242971"/>
            <a:ext cx="2283530" cy="1360714"/>
          </a:xfrm>
          <a:custGeom>
            <a:avLst/>
            <a:gdLst>
              <a:gd name="connsiteX0" fmla="*/ 0 w 2283530"/>
              <a:gd name="connsiteY0" fmla="*/ 0 h 1360714"/>
              <a:gd name="connsiteX1" fmla="*/ 2283530 w 2283530"/>
              <a:gd name="connsiteY1" fmla="*/ 0 h 1360714"/>
              <a:gd name="connsiteX2" fmla="*/ 2283530 w 2283530"/>
              <a:gd name="connsiteY2" fmla="*/ 1360714 h 1360714"/>
              <a:gd name="connsiteX3" fmla="*/ 0 w 2283530"/>
              <a:gd name="connsiteY3" fmla="*/ 1360714 h 1360714"/>
            </a:gdLst>
            <a:ahLst/>
            <a:cxnLst>
              <a:cxn ang="0">
                <a:pos x="connsiteX0" y="connsiteY0"/>
              </a:cxn>
              <a:cxn ang="0">
                <a:pos x="connsiteX1" y="connsiteY1"/>
              </a:cxn>
              <a:cxn ang="0">
                <a:pos x="connsiteX2" y="connsiteY2"/>
              </a:cxn>
              <a:cxn ang="0">
                <a:pos x="connsiteX3" y="connsiteY3"/>
              </a:cxn>
            </a:cxnLst>
            <a:rect l="l" t="t" r="r" b="b"/>
            <a:pathLst>
              <a:path w="2283530" h="1360714">
                <a:moveTo>
                  <a:pt x="0" y="0"/>
                </a:moveTo>
                <a:lnTo>
                  <a:pt x="2283530" y="0"/>
                </a:lnTo>
                <a:lnTo>
                  <a:pt x="2283530" y="1360714"/>
                </a:lnTo>
                <a:lnTo>
                  <a:pt x="0" y="136071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61" name="Picture Placeholder 12"/>
          <p:cNvSpPr>
            <a:spLocks noGrp="1"/>
          </p:cNvSpPr>
          <p:nvPr>
            <p:ph type="pic" sz="quarter" idx="11"/>
          </p:nvPr>
        </p:nvSpPr>
        <p:spPr>
          <a:xfrm>
            <a:off x="3670517" y="3242971"/>
            <a:ext cx="2283530" cy="1360714"/>
          </a:xfrm>
          <a:custGeom>
            <a:avLst/>
            <a:gdLst>
              <a:gd name="connsiteX0" fmla="*/ 0 w 2283530"/>
              <a:gd name="connsiteY0" fmla="*/ 0 h 1360714"/>
              <a:gd name="connsiteX1" fmla="*/ 2283530 w 2283530"/>
              <a:gd name="connsiteY1" fmla="*/ 0 h 1360714"/>
              <a:gd name="connsiteX2" fmla="*/ 2283530 w 2283530"/>
              <a:gd name="connsiteY2" fmla="*/ 1360714 h 1360714"/>
              <a:gd name="connsiteX3" fmla="*/ 0 w 2283530"/>
              <a:gd name="connsiteY3" fmla="*/ 1360714 h 1360714"/>
            </a:gdLst>
            <a:ahLst/>
            <a:cxnLst>
              <a:cxn ang="0">
                <a:pos x="connsiteX0" y="connsiteY0"/>
              </a:cxn>
              <a:cxn ang="0">
                <a:pos x="connsiteX1" y="connsiteY1"/>
              </a:cxn>
              <a:cxn ang="0">
                <a:pos x="connsiteX2" y="connsiteY2"/>
              </a:cxn>
              <a:cxn ang="0">
                <a:pos x="connsiteX3" y="connsiteY3"/>
              </a:cxn>
            </a:cxnLst>
            <a:rect l="l" t="t" r="r" b="b"/>
            <a:pathLst>
              <a:path w="2283530" h="1360714">
                <a:moveTo>
                  <a:pt x="0" y="0"/>
                </a:moveTo>
                <a:lnTo>
                  <a:pt x="2283530" y="0"/>
                </a:lnTo>
                <a:lnTo>
                  <a:pt x="2283530" y="1360714"/>
                </a:lnTo>
                <a:lnTo>
                  <a:pt x="0" y="136071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62" name="Picture Placeholder 14"/>
          <p:cNvSpPr>
            <a:spLocks noGrp="1"/>
          </p:cNvSpPr>
          <p:nvPr>
            <p:ph type="pic" sz="quarter" idx="12"/>
          </p:nvPr>
        </p:nvSpPr>
        <p:spPr>
          <a:xfrm>
            <a:off x="6237950" y="3242971"/>
            <a:ext cx="2283530" cy="1360714"/>
          </a:xfrm>
          <a:custGeom>
            <a:avLst/>
            <a:gdLst>
              <a:gd name="connsiteX0" fmla="*/ 0 w 2283530"/>
              <a:gd name="connsiteY0" fmla="*/ 0 h 1360714"/>
              <a:gd name="connsiteX1" fmla="*/ 2283530 w 2283530"/>
              <a:gd name="connsiteY1" fmla="*/ 0 h 1360714"/>
              <a:gd name="connsiteX2" fmla="*/ 2283530 w 2283530"/>
              <a:gd name="connsiteY2" fmla="*/ 1360714 h 1360714"/>
              <a:gd name="connsiteX3" fmla="*/ 0 w 2283530"/>
              <a:gd name="connsiteY3" fmla="*/ 1360714 h 1360714"/>
            </a:gdLst>
            <a:ahLst/>
            <a:cxnLst>
              <a:cxn ang="0">
                <a:pos x="connsiteX0" y="connsiteY0"/>
              </a:cxn>
              <a:cxn ang="0">
                <a:pos x="connsiteX1" y="connsiteY1"/>
              </a:cxn>
              <a:cxn ang="0">
                <a:pos x="connsiteX2" y="connsiteY2"/>
              </a:cxn>
              <a:cxn ang="0">
                <a:pos x="connsiteX3" y="connsiteY3"/>
              </a:cxn>
            </a:cxnLst>
            <a:rect l="l" t="t" r="r" b="b"/>
            <a:pathLst>
              <a:path w="2283530" h="1360714">
                <a:moveTo>
                  <a:pt x="0" y="0"/>
                </a:moveTo>
                <a:lnTo>
                  <a:pt x="2283530" y="0"/>
                </a:lnTo>
                <a:lnTo>
                  <a:pt x="2283530" y="1360714"/>
                </a:lnTo>
                <a:lnTo>
                  <a:pt x="0" y="136071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63" name="Picture Placeholder 16"/>
          <p:cNvSpPr>
            <a:spLocks noGrp="1"/>
          </p:cNvSpPr>
          <p:nvPr>
            <p:ph type="pic" sz="quarter" idx="13"/>
          </p:nvPr>
        </p:nvSpPr>
        <p:spPr>
          <a:xfrm>
            <a:off x="8805382" y="3242971"/>
            <a:ext cx="2283530" cy="1360714"/>
          </a:xfrm>
          <a:custGeom>
            <a:avLst/>
            <a:gdLst>
              <a:gd name="connsiteX0" fmla="*/ 0 w 2283530"/>
              <a:gd name="connsiteY0" fmla="*/ 0 h 1360714"/>
              <a:gd name="connsiteX1" fmla="*/ 2283530 w 2283530"/>
              <a:gd name="connsiteY1" fmla="*/ 0 h 1360714"/>
              <a:gd name="connsiteX2" fmla="*/ 2283530 w 2283530"/>
              <a:gd name="connsiteY2" fmla="*/ 1360714 h 1360714"/>
              <a:gd name="connsiteX3" fmla="*/ 0 w 2283530"/>
              <a:gd name="connsiteY3" fmla="*/ 1360714 h 1360714"/>
            </a:gdLst>
            <a:ahLst/>
            <a:cxnLst>
              <a:cxn ang="0">
                <a:pos x="connsiteX0" y="connsiteY0"/>
              </a:cxn>
              <a:cxn ang="0">
                <a:pos x="connsiteX1" y="connsiteY1"/>
              </a:cxn>
              <a:cxn ang="0">
                <a:pos x="connsiteX2" y="connsiteY2"/>
              </a:cxn>
              <a:cxn ang="0">
                <a:pos x="connsiteX3" y="connsiteY3"/>
              </a:cxn>
            </a:cxnLst>
            <a:rect l="l" t="t" r="r" b="b"/>
            <a:pathLst>
              <a:path w="2283530" h="1360714">
                <a:moveTo>
                  <a:pt x="0" y="0"/>
                </a:moveTo>
                <a:lnTo>
                  <a:pt x="2283530" y="0"/>
                </a:lnTo>
                <a:lnTo>
                  <a:pt x="2283530" y="1360714"/>
                </a:lnTo>
                <a:lnTo>
                  <a:pt x="0" y="136071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049160" name="Rectangle 8"/>
          <p:cNvSpPr/>
          <p:nvPr userDrawn="1"/>
        </p:nvSpPr>
        <p:spPr>
          <a:xfrm>
            <a:off x="4434166" y="3223076"/>
            <a:ext cx="3323664" cy="3634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61" name="Picture Placeholder 7"/>
          <p:cNvSpPr>
            <a:spLocks noGrp="1"/>
          </p:cNvSpPr>
          <p:nvPr>
            <p:ph type="pic" sz="quarter" idx="10"/>
          </p:nvPr>
        </p:nvSpPr>
        <p:spPr>
          <a:xfrm>
            <a:off x="4637022" y="3403600"/>
            <a:ext cx="2928630" cy="3454400"/>
          </a:xfrm>
          <a:custGeom>
            <a:avLst/>
            <a:gdLst>
              <a:gd name="connsiteX0" fmla="*/ 0 w 2928630"/>
              <a:gd name="connsiteY0" fmla="*/ 0 h 3454400"/>
              <a:gd name="connsiteX1" fmla="*/ 2928630 w 2928630"/>
              <a:gd name="connsiteY1" fmla="*/ 0 h 3454400"/>
              <a:gd name="connsiteX2" fmla="*/ 2928630 w 2928630"/>
              <a:gd name="connsiteY2" fmla="*/ 3454400 h 3454400"/>
              <a:gd name="connsiteX3" fmla="*/ 0 w 2928630"/>
              <a:gd name="connsiteY3" fmla="*/ 3454400 h 3454400"/>
            </a:gdLst>
            <a:ahLst/>
            <a:cxnLst>
              <a:cxn ang="0">
                <a:pos x="connsiteX0" y="connsiteY0"/>
              </a:cxn>
              <a:cxn ang="0">
                <a:pos x="connsiteX1" y="connsiteY1"/>
              </a:cxn>
              <a:cxn ang="0">
                <a:pos x="connsiteX2" y="connsiteY2"/>
              </a:cxn>
              <a:cxn ang="0">
                <a:pos x="connsiteX3" y="connsiteY3"/>
              </a:cxn>
            </a:cxnLst>
            <a:rect l="l" t="t" r="r" b="b"/>
            <a:pathLst>
              <a:path w="2928630" h="3454400">
                <a:moveTo>
                  <a:pt x="0" y="0"/>
                </a:moveTo>
                <a:lnTo>
                  <a:pt x="2928630" y="0"/>
                </a:lnTo>
                <a:lnTo>
                  <a:pt x="2928630" y="3454400"/>
                </a:lnTo>
                <a:lnTo>
                  <a:pt x="0" y="34544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049182" name="Picture Placeholder 7"/>
          <p:cNvSpPr>
            <a:spLocks noGrp="1"/>
          </p:cNvSpPr>
          <p:nvPr>
            <p:ph type="pic" sz="quarter" idx="10"/>
          </p:nvPr>
        </p:nvSpPr>
        <p:spPr>
          <a:xfrm>
            <a:off x="4061012" y="0"/>
            <a:ext cx="3687962" cy="6858000"/>
          </a:xfrm>
          <a:custGeom>
            <a:avLst/>
            <a:gdLst>
              <a:gd name="connsiteX0" fmla="*/ 0 w 3687962"/>
              <a:gd name="connsiteY0" fmla="*/ 0 h 6858000"/>
              <a:gd name="connsiteX1" fmla="*/ 3687962 w 3687962"/>
              <a:gd name="connsiteY1" fmla="*/ 0 h 6858000"/>
              <a:gd name="connsiteX2" fmla="*/ 3687962 w 3687962"/>
              <a:gd name="connsiteY2" fmla="*/ 6858000 h 6858000"/>
              <a:gd name="connsiteX3" fmla="*/ 0 w 36879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87962" h="6858000">
                <a:moveTo>
                  <a:pt x="0" y="0"/>
                </a:moveTo>
                <a:lnTo>
                  <a:pt x="3687962" y="0"/>
                </a:lnTo>
                <a:lnTo>
                  <a:pt x="3687962" y="6858000"/>
                </a:lnTo>
                <a:lnTo>
                  <a:pt x="0" y="68580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049124" name="Rectangle 5"/>
          <p:cNvSpPr/>
          <p:nvPr userDrawn="1"/>
        </p:nvSpPr>
        <p:spPr>
          <a:xfrm>
            <a:off x="7304656" y="0"/>
            <a:ext cx="4132601" cy="467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25" name="Picture Placeholder 8"/>
          <p:cNvSpPr>
            <a:spLocks noGrp="1"/>
          </p:cNvSpPr>
          <p:nvPr>
            <p:ph type="pic" sz="quarter" idx="10"/>
          </p:nvPr>
        </p:nvSpPr>
        <p:spPr>
          <a:xfrm>
            <a:off x="7458444" y="0"/>
            <a:ext cx="3825025" cy="4523628"/>
          </a:xfrm>
          <a:custGeom>
            <a:avLst/>
            <a:gdLst>
              <a:gd name="connsiteX0" fmla="*/ 0 w 3825025"/>
              <a:gd name="connsiteY0" fmla="*/ 0 h 4523628"/>
              <a:gd name="connsiteX1" fmla="*/ 3825025 w 3825025"/>
              <a:gd name="connsiteY1" fmla="*/ 0 h 4523628"/>
              <a:gd name="connsiteX2" fmla="*/ 3825025 w 3825025"/>
              <a:gd name="connsiteY2" fmla="*/ 4523628 h 4523628"/>
              <a:gd name="connsiteX3" fmla="*/ 0 w 3825025"/>
              <a:gd name="connsiteY3" fmla="*/ 4523628 h 4523628"/>
            </a:gdLst>
            <a:ahLst/>
            <a:cxnLst>
              <a:cxn ang="0">
                <a:pos x="connsiteX0" y="connsiteY0"/>
              </a:cxn>
              <a:cxn ang="0">
                <a:pos x="connsiteX1" y="connsiteY1"/>
              </a:cxn>
              <a:cxn ang="0">
                <a:pos x="connsiteX2" y="connsiteY2"/>
              </a:cxn>
              <a:cxn ang="0">
                <a:pos x="connsiteX3" y="connsiteY3"/>
              </a:cxn>
            </a:cxnLst>
            <a:rect l="l" t="t" r="r" b="b"/>
            <a:pathLst>
              <a:path w="3825025" h="4523628">
                <a:moveTo>
                  <a:pt x="0" y="0"/>
                </a:moveTo>
                <a:lnTo>
                  <a:pt x="3825025" y="0"/>
                </a:lnTo>
                <a:lnTo>
                  <a:pt x="3825025" y="4523628"/>
                </a:lnTo>
                <a:lnTo>
                  <a:pt x="0" y="4523628"/>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26" name="Rectangle 3"/>
          <p:cNvSpPr/>
          <p:nvPr userDrawn="1"/>
        </p:nvSpPr>
        <p:spPr>
          <a:xfrm>
            <a:off x="0" y="6784848"/>
            <a:ext cx="12192000" cy="73152"/>
          </a:xfrm>
          <a:prstGeom prst="rect">
            <a:avLst/>
          </a:prstGeom>
          <a:solidFill>
            <a:srgbClr val="0087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1049141" name="Rectangle 14"/>
          <p:cNvSpPr/>
          <p:nvPr userDrawn="1"/>
        </p:nvSpPr>
        <p:spPr>
          <a:xfrm>
            <a:off x="214082" y="184663"/>
            <a:ext cx="11763831" cy="25690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42" name="Picture Placeholder 9"/>
          <p:cNvSpPr>
            <a:spLocks noGrp="1"/>
          </p:cNvSpPr>
          <p:nvPr>
            <p:ph type="pic" sz="quarter" idx="10"/>
          </p:nvPr>
        </p:nvSpPr>
        <p:spPr>
          <a:xfrm>
            <a:off x="428170" y="362856"/>
            <a:ext cx="3778553" cy="2569029"/>
          </a:xfrm>
          <a:custGeom>
            <a:avLst/>
            <a:gdLst>
              <a:gd name="connsiteX0" fmla="*/ 0 w 3778553"/>
              <a:gd name="connsiteY0" fmla="*/ 0 h 2569029"/>
              <a:gd name="connsiteX1" fmla="*/ 3778553 w 3778553"/>
              <a:gd name="connsiteY1" fmla="*/ 0 h 2569029"/>
              <a:gd name="connsiteX2" fmla="*/ 3778553 w 3778553"/>
              <a:gd name="connsiteY2" fmla="*/ 2569029 h 2569029"/>
              <a:gd name="connsiteX3" fmla="*/ 0 w 3778553"/>
              <a:gd name="connsiteY3" fmla="*/ 2569029 h 2569029"/>
            </a:gdLst>
            <a:ahLst/>
            <a:cxnLst>
              <a:cxn ang="0">
                <a:pos x="connsiteX0" y="connsiteY0"/>
              </a:cxn>
              <a:cxn ang="0">
                <a:pos x="connsiteX1" y="connsiteY1"/>
              </a:cxn>
              <a:cxn ang="0">
                <a:pos x="connsiteX2" y="connsiteY2"/>
              </a:cxn>
              <a:cxn ang="0">
                <a:pos x="connsiteX3" y="connsiteY3"/>
              </a:cxn>
            </a:cxnLst>
            <a:rect l="l" t="t" r="r" b="b"/>
            <a:pathLst>
              <a:path w="3778553" h="2569029">
                <a:moveTo>
                  <a:pt x="0" y="0"/>
                </a:moveTo>
                <a:lnTo>
                  <a:pt x="3778553" y="0"/>
                </a:lnTo>
                <a:lnTo>
                  <a:pt x="3778553" y="2569029"/>
                </a:lnTo>
                <a:lnTo>
                  <a:pt x="0" y="256902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43" name="Picture Placeholder 11"/>
          <p:cNvSpPr>
            <a:spLocks noGrp="1"/>
          </p:cNvSpPr>
          <p:nvPr>
            <p:ph type="pic" sz="quarter" idx="11"/>
          </p:nvPr>
        </p:nvSpPr>
        <p:spPr>
          <a:xfrm>
            <a:off x="4206723" y="362856"/>
            <a:ext cx="3778553" cy="2569029"/>
          </a:xfrm>
          <a:custGeom>
            <a:avLst/>
            <a:gdLst>
              <a:gd name="connsiteX0" fmla="*/ 0 w 3778553"/>
              <a:gd name="connsiteY0" fmla="*/ 0 h 2569029"/>
              <a:gd name="connsiteX1" fmla="*/ 3778553 w 3778553"/>
              <a:gd name="connsiteY1" fmla="*/ 0 h 2569029"/>
              <a:gd name="connsiteX2" fmla="*/ 3778553 w 3778553"/>
              <a:gd name="connsiteY2" fmla="*/ 2569029 h 2569029"/>
              <a:gd name="connsiteX3" fmla="*/ 0 w 3778553"/>
              <a:gd name="connsiteY3" fmla="*/ 2569029 h 2569029"/>
            </a:gdLst>
            <a:ahLst/>
            <a:cxnLst>
              <a:cxn ang="0">
                <a:pos x="connsiteX0" y="connsiteY0"/>
              </a:cxn>
              <a:cxn ang="0">
                <a:pos x="connsiteX1" y="connsiteY1"/>
              </a:cxn>
              <a:cxn ang="0">
                <a:pos x="connsiteX2" y="connsiteY2"/>
              </a:cxn>
              <a:cxn ang="0">
                <a:pos x="connsiteX3" y="connsiteY3"/>
              </a:cxn>
            </a:cxnLst>
            <a:rect l="l" t="t" r="r" b="b"/>
            <a:pathLst>
              <a:path w="3778553" h="2569029">
                <a:moveTo>
                  <a:pt x="0" y="0"/>
                </a:moveTo>
                <a:lnTo>
                  <a:pt x="3778553" y="0"/>
                </a:lnTo>
                <a:lnTo>
                  <a:pt x="3778553" y="2569029"/>
                </a:lnTo>
                <a:lnTo>
                  <a:pt x="0" y="256902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44" name="Picture Placeholder 13"/>
          <p:cNvSpPr>
            <a:spLocks noGrp="1"/>
          </p:cNvSpPr>
          <p:nvPr>
            <p:ph type="pic" sz="quarter" idx="12"/>
          </p:nvPr>
        </p:nvSpPr>
        <p:spPr>
          <a:xfrm>
            <a:off x="7985275" y="362856"/>
            <a:ext cx="3778553" cy="2569029"/>
          </a:xfrm>
          <a:custGeom>
            <a:avLst/>
            <a:gdLst>
              <a:gd name="connsiteX0" fmla="*/ 0 w 3778553"/>
              <a:gd name="connsiteY0" fmla="*/ 0 h 2569029"/>
              <a:gd name="connsiteX1" fmla="*/ 3778553 w 3778553"/>
              <a:gd name="connsiteY1" fmla="*/ 0 h 2569029"/>
              <a:gd name="connsiteX2" fmla="*/ 3778553 w 3778553"/>
              <a:gd name="connsiteY2" fmla="*/ 2569029 h 2569029"/>
              <a:gd name="connsiteX3" fmla="*/ 0 w 3778553"/>
              <a:gd name="connsiteY3" fmla="*/ 2569029 h 2569029"/>
            </a:gdLst>
            <a:ahLst/>
            <a:cxnLst>
              <a:cxn ang="0">
                <a:pos x="connsiteX0" y="connsiteY0"/>
              </a:cxn>
              <a:cxn ang="0">
                <a:pos x="connsiteX1" y="connsiteY1"/>
              </a:cxn>
              <a:cxn ang="0">
                <a:pos x="connsiteX2" y="connsiteY2"/>
              </a:cxn>
              <a:cxn ang="0">
                <a:pos x="connsiteX3" y="connsiteY3"/>
              </a:cxn>
            </a:cxnLst>
            <a:rect l="l" t="t" r="r" b="b"/>
            <a:pathLst>
              <a:path w="3778553" h="2569029">
                <a:moveTo>
                  <a:pt x="0" y="0"/>
                </a:moveTo>
                <a:lnTo>
                  <a:pt x="3778553" y="0"/>
                </a:lnTo>
                <a:lnTo>
                  <a:pt x="3778553" y="2569029"/>
                </a:lnTo>
                <a:lnTo>
                  <a:pt x="0" y="256902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45" name="Rectangle 5"/>
          <p:cNvSpPr/>
          <p:nvPr userDrawn="1"/>
        </p:nvSpPr>
        <p:spPr>
          <a:xfrm>
            <a:off x="0" y="6784848"/>
            <a:ext cx="12192000" cy="73152"/>
          </a:xfrm>
          <a:prstGeom prst="rect">
            <a:avLst/>
          </a:prstGeom>
          <a:solidFill>
            <a:srgbClr val="0087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49048"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1049049"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049050" name="Date Placeholder 3"/>
          <p:cNvSpPr>
            <a:spLocks noGrp="1"/>
          </p:cNvSpPr>
          <p:nvPr>
            <p:ph type="dt" sz="half" idx="10"/>
          </p:nvPr>
        </p:nvSpPr>
        <p:spPr/>
        <p:txBody>
          <a:bodyPr/>
          <a:lstStyle/>
          <a:p>
            <a:fld id="{E678B23A-0579-4A25-9F8C-78E5A3656303}" type="datetimeFigureOut">
              <a:rPr lang="en-US" smtClean="0"/>
              <a:t>3/13/2023</a:t>
            </a:fld>
            <a:endParaRPr lang="en-US"/>
          </a:p>
        </p:txBody>
      </p:sp>
      <p:sp>
        <p:nvSpPr>
          <p:cNvPr id="1049051" name="Footer Placeholder 4"/>
          <p:cNvSpPr>
            <a:spLocks noGrp="1"/>
          </p:cNvSpPr>
          <p:nvPr>
            <p:ph type="ftr" sz="quarter" idx="11"/>
          </p:nvPr>
        </p:nvSpPr>
        <p:spPr/>
        <p:txBody>
          <a:bodyPr/>
          <a:lstStyle/>
          <a:p>
            <a:endParaRPr lang="en-US"/>
          </a:p>
        </p:txBody>
      </p:sp>
      <p:sp>
        <p:nvSpPr>
          <p:cNvPr id="1049052" name="Slide Number Placeholder 5"/>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049170" name="Oval 5"/>
          <p:cNvSpPr/>
          <p:nvPr userDrawn="1"/>
        </p:nvSpPr>
        <p:spPr>
          <a:xfrm>
            <a:off x="7180238" y="2208042"/>
            <a:ext cx="503079" cy="503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71" name="Oval 6"/>
          <p:cNvSpPr/>
          <p:nvPr userDrawn="1"/>
        </p:nvSpPr>
        <p:spPr>
          <a:xfrm>
            <a:off x="1834182" y="2208042"/>
            <a:ext cx="503079" cy="503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72" name="Oval 9"/>
          <p:cNvSpPr/>
          <p:nvPr userDrawn="1"/>
        </p:nvSpPr>
        <p:spPr>
          <a:xfrm rot="10800000">
            <a:off x="9856199" y="3346246"/>
            <a:ext cx="503079" cy="503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73" name="Oval 10"/>
          <p:cNvSpPr/>
          <p:nvPr userDrawn="1"/>
        </p:nvSpPr>
        <p:spPr>
          <a:xfrm rot="10800000">
            <a:off x="4507214" y="3346246"/>
            <a:ext cx="503079" cy="50307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74" name="Picture Placeholder 17"/>
          <p:cNvSpPr>
            <a:spLocks noGrp="1"/>
          </p:cNvSpPr>
          <p:nvPr>
            <p:ph type="pic" sz="quarter" idx="10"/>
          </p:nvPr>
        </p:nvSpPr>
        <p:spPr>
          <a:xfrm>
            <a:off x="1389387" y="2459582"/>
            <a:ext cx="1389744" cy="1389744"/>
          </a:xfrm>
          <a:custGeom>
            <a:avLst/>
            <a:gdLst>
              <a:gd name="connsiteX0" fmla="*/ 694872 w 1389744"/>
              <a:gd name="connsiteY0" fmla="*/ 0 h 1389744"/>
              <a:gd name="connsiteX1" fmla="*/ 1389744 w 1389744"/>
              <a:gd name="connsiteY1" fmla="*/ 694872 h 1389744"/>
              <a:gd name="connsiteX2" fmla="*/ 694872 w 1389744"/>
              <a:gd name="connsiteY2" fmla="*/ 1389744 h 1389744"/>
              <a:gd name="connsiteX3" fmla="*/ 0 w 1389744"/>
              <a:gd name="connsiteY3" fmla="*/ 694872 h 1389744"/>
              <a:gd name="connsiteX4" fmla="*/ 694872 w 1389744"/>
              <a:gd name="connsiteY4" fmla="*/ 0 h 138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744" h="1389744">
                <a:moveTo>
                  <a:pt x="694872" y="0"/>
                </a:moveTo>
                <a:cubicBezTo>
                  <a:pt x="1078639" y="0"/>
                  <a:pt x="1389744" y="311105"/>
                  <a:pt x="1389744" y="694872"/>
                </a:cubicBezTo>
                <a:cubicBezTo>
                  <a:pt x="1389744" y="1078639"/>
                  <a:pt x="1078639" y="1389744"/>
                  <a:pt x="694872" y="1389744"/>
                </a:cubicBezTo>
                <a:cubicBezTo>
                  <a:pt x="311105" y="1389744"/>
                  <a:pt x="0" y="1078639"/>
                  <a:pt x="0" y="694872"/>
                </a:cubicBezTo>
                <a:cubicBezTo>
                  <a:pt x="0" y="311105"/>
                  <a:pt x="311105" y="0"/>
                  <a:pt x="694872"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75" name="Picture Placeholder 18"/>
          <p:cNvSpPr>
            <a:spLocks noGrp="1"/>
          </p:cNvSpPr>
          <p:nvPr>
            <p:ph type="pic" sz="quarter" idx="11"/>
          </p:nvPr>
        </p:nvSpPr>
        <p:spPr>
          <a:xfrm>
            <a:off x="4063879" y="2208041"/>
            <a:ext cx="1389744" cy="1389744"/>
          </a:xfrm>
          <a:custGeom>
            <a:avLst/>
            <a:gdLst>
              <a:gd name="connsiteX0" fmla="*/ 694872 w 1389744"/>
              <a:gd name="connsiteY0" fmla="*/ 0 h 1389744"/>
              <a:gd name="connsiteX1" fmla="*/ 1389744 w 1389744"/>
              <a:gd name="connsiteY1" fmla="*/ 694872 h 1389744"/>
              <a:gd name="connsiteX2" fmla="*/ 694872 w 1389744"/>
              <a:gd name="connsiteY2" fmla="*/ 1389744 h 1389744"/>
              <a:gd name="connsiteX3" fmla="*/ 0 w 1389744"/>
              <a:gd name="connsiteY3" fmla="*/ 694872 h 1389744"/>
              <a:gd name="connsiteX4" fmla="*/ 694872 w 1389744"/>
              <a:gd name="connsiteY4" fmla="*/ 0 h 138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744" h="1389744">
                <a:moveTo>
                  <a:pt x="694872" y="0"/>
                </a:moveTo>
                <a:cubicBezTo>
                  <a:pt x="1078639" y="0"/>
                  <a:pt x="1389744" y="311105"/>
                  <a:pt x="1389744" y="694872"/>
                </a:cubicBezTo>
                <a:cubicBezTo>
                  <a:pt x="1389744" y="1078639"/>
                  <a:pt x="1078639" y="1389744"/>
                  <a:pt x="694872" y="1389744"/>
                </a:cubicBezTo>
                <a:cubicBezTo>
                  <a:pt x="311105" y="1389744"/>
                  <a:pt x="0" y="1078639"/>
                  <a:pt x="0" y="694872"/>
                </a:cubicBezTo>
                <a:cubicBezTo>
                  <a:pt x="0" y="311105"/>
                  <a:pt x="311105" y="0"/>
                  <a:pt x="694872"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76" name="Picture Placeholder 19"/>
          <p:cNvSpPr>
            <a:spLocks noGrp="1"/>
          </p:cNvSpPr>
          <p:nvPr>
            <p:ph type="pic" sz="quarter" idx="12"/>
          </p:nvPr>
        </p:nvSpPr>
        <p:spPr>
          <a:xfrm>
            <a:off x="6738372" y="2459582"/>
            <a:ext cx="1389744" cy="1389744"/>
          </a:xfrm>
          <a:custGeom>
            <a:avLst/>
            <a:gdLst>
              <a:gd name="connsiteX0" fmla="*/ 694872 w 1389744"/>
              <a:gd name="connsiteY0" fmla="*/ 0 h 1389744"/>
              <a:gd name="connsiteX1" fmla="*/ 1389744 w 1389744"/>
              <a:gd name="connsiteY1" fmla="*/ 694872 h 1389744"/>
              <a:gd name="connsiteX2" fmla="*/ 694872 w 1389744"/>
              <a:gd name="connsiteY2" fmla="*/ 1389744 h 1389744"/>
              <a:gd name="connsiteX3" fmla="*/ 0 w 1389744"/>
              <a:gd name="connsiteY3" fmla="*/ 694872 h 1389744"/>
              <a:gd name="connsiteX4" fmla="*/ 694872 w 1389744"/>
              <a:gd name="connsiteY4" fmla="*/ 0 h 138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744" h="1389744">
                <a:moveTo>
                  <a:pt x="694872" y="0"/>
                </a:moveTo>
                <a:cubicBezTo>
                  <a:pt x="1078639" y="0"/>
                  <a:pt x="1389744" y="311105"/>
                  <a:pt x="1389744" y="694872"/>
                </a:cubicBezTo>
                <a:cubicBezTo>
                  <a:pt x="1389744" y="1078639"/>
                  <a:pt x="1078639" y="1389744"/>
                  <a:pt x="694872" y="1389744"/>
                </a:cubicBezTo>
                <a:cubicBezTo>
                  <a:pt x="311105" y="1389744"/>
                  <a:pt x="0" y="1078639"/>
                  <a:pt x="0" y="694872"/>
                </a:cubicBezTo>
                <a:cubicBezTo>
                  <a:pt x="0" y="311105"/>
                  <a:pt x="311105" y="0"/>
                  <a:pt x="694872"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77" name="Picture Placeholder 20"/>
          <p:cNvSpPr>
            <a:spLocks noGrp="1"/>
          </p:cNvSpPr>
          <p:nvPr>
            <p:ph type="pic" sz="quarter" idx="13"/>
          </p:nvPr>
        </p:nvSpPr>
        <p:spPr>
          <a:xfrm>
            <a:off x="9412864" y="2208041"/>
            <a:ext cx="1389744" cy="1389744"/>
          </a:xfrm>
          <a:custGeom>
            <a:avLst/>
            <a:gdLst>
              <a:gd name="connsiteX0" fmla="*/ 694872 w 1389744"/>
              <a:gd name="connsiteY0" fmla="*/ 0 h 1389744"/>
              <a:gd name="connsiteX1" fmla="*/ 1389744 w 1389744"/>
              <a:gd name="connsiteY1" fmla="*/ 694872 h 1389744"/>
              <a:gd name="connsiteX2" fmla="*/ 694872 w 1389744"/>
              <a:gd name="connsiteY2" fmla="*/ 1389744 h 1389744"/>
              <a:gd name="connsiteX3" fmla="*/ 0 w 1389744"/>
              <a:gd name="connsiteY3" fmla="*/ 694872 h 1389744"/>
              <a:gd name="connsiteX4" fmla="*/ 694872 w 1389744"/>
              <a:gd name="connsiteY4" fmla="*/ 0 h 138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744" h="1389744">
                <a:moveTo>
                  <a:pt x="694872" y="0"/>
                </a:moveTo>
                <a:cubicBezTo>
                  <a:pt x="1078639" y="0"/>
                  <a:pt x="1389744" y="311105"/>
                  <a:pt x="1389744" y="694872"/>
                </a:cubicBezTo>
                <a:cubicBezTo>
                  <a:pt x="1389744" y="1078639"/>
                  <a:pt x="1078639" y="1389744"/>
                  <a:pt x="694872" y="1389744"/>
                </a:cubicBezTo>
                <a:cubicBezTo>
                  <a:pt x="311105" y="1389744"/>
                  <a:pt x="0" y="1078639"/>
                  <a:pt x="0" y="694872"/>
                </a:cubicBezTo>
                <a:cubicBezTo>
                  <a:pt x="0" y="311105"/>
                  <a:pt x="311105" y="0"/>
                  <a:pt x="694872"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049178" name="Picture Placeholder 16"/>
          <p:cNvSpPr>
            <a:spLocks noGrp="1"/>
          </p:cNvSpPr>
          <p:nvPr>
            <p:ph type="pic" sz="quarter" idx="10"/>
          </p:nvPr>
        </p:nvSpPr>
        <p:spPr>
          <a:xfrm>
            <a:off x="8898398" y="2148116"/>
            <a:ext cx="2351315" cy="2728684"/>
          </a:xfrm>
          <a:custGeom>
            <a:avLst/>
            <a:gdLst>
              <a:gd name="connsiteX0" fmla="*/ 0 w 2351315"/>
              <a:gd name="connsiteY0" fmla="*/ 0 h 2728684"/>
              <a:gd name="connsiteX1" fmla="*/ 2351315 w 2351315"/>
              <a:gd name="connsiteY1" fmla="*/ 0 h 2728684"/>
              <a:gd name="connsiteX2" fmla="*/ 2351315 w 2351315"/>
              <a:gd name="connsiteY2" fmla="*/ 2728684 h 2728684"/>
              <a:gd name="connsiteX3" fmla="*/ 0 w 2351315"/>
              <a:gd name="connsiteY3" fmla="*/ 2728684 h 2728684"/>
            </a:gdLst>
            <a:ahLst/>
            <a:cxnLst>
              <a:cxn ang="0">
                <a:pos x="connsiteX0" y="connsiteY0"/>
              </a:cxn>
              <a:cxn ang="0">
                <a:pos x="connsiteX1" y="connsiteY1"/>
              </a:cxn>
              <a:cxn ang="0">
                <a:pos x="connsiteX2" y="connsiteY2"/>
              </a:cxn>
              <a:cxn ang="0">
                <a:pos x="connsiteX3" y="connsiteY3"/>
              </a:cxn>
            </a:cxnLst>
            <a:rect l="l" t="t" r="r" b="b"/>
            <a:pathLst>
              <a:path w="2351315" h="2728684">
                <a:moveTo>
                  <a:pt x="0" y="0"/>
                </a:moveTo>
                <a:lnTo>
                  <a:pt x="2351315" y="0"/>
                </a:lnTo>
                <a:lnTo>
                  <a:pt x="2351315" y="2728684"/>
                </a:lnTo>
                <a:lnTo>
                  <a:pt x="0" y="272868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79" name="Picture Placeholder 15"/>
          <p:cNvSpPr>
            <a:spLocks noGrp="1"/>
          </p:cNvSpPr>
          <p:nvPr>
            <p:ph type="pic" sz="quarter" idx="11"/>
          </p:nvPr>
        </p:nvSpPr>
        <p:spPr>
          <a:xfrm>
            <a:off x="6247725" y="2148116"/>
            <a:ext cx="2351315" cy="2728684"/>
          </a:xfrm>
          <a:custGeom>
            <a:avLst/>
            <a:gdLst>
              <a:gd name="connsiteX0" fmla="*/ 0 w 2351315"/>
              <a:gd name="connsiteY0" fmla="*/ 0 h 2728684"/>
              <a:gd name="connsiteX1" fmla="*/ 2351315 w 2351315"/>
              <a:gd name="connsiteY1" fmla="*/ 0 h 2728684"/>
              <a:gd name="connsiteX2" fmla="*/ 2351315 w 2351315"/>
              <a:gd name="connsiteY2" fmla="*/ 2728684 h 2728684"/>
              <a:gd name="connsiteX3" fmla="*/ 0 w 2351315"/>
              <a:gd name="connsiteY3" fmla="*/ 2728684 h 2728684"/>
            </a:gdLst>
            <a:ahLst/>
            <a:cxnLst>
              <a:cxn ang="0">
                <a:pos x="connsiteX0" y="connsiteY0"/>
              </a:cxn>
              <a:cxn ang="0">
                <a:pos x="connsiteX1" y="connsiteY1"/>
              </a:cxn>
              <a:cxn ang="0">
                <a:pos x="connsiteX2" y="connsiteY2"/>
              </a:cxn>
              <a:cxn ang="0">
                <a:pos x="connsiteX3" y="connsiteY3"/>
              </a:cxn>
            </a:cxnLst>
            <a:rect l="l" t="t" r="r" b="b"/>
            <a:pathLst>
              <a:path w="2351315" h="2728684">
                <a:moveTo>
                  <a:pt x="0" y="0"/>
                </a:moveTo>
                <a:lnTo>
                  <a:pt x="2351315" y="0"/>
                </a:lnTo>
                <a:lnTo>
                  <a:pt x="2351315" y="2728684"/>
                </a:lnTo>
                <a:lnTo>
                  <a:pt x="0" y="272868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80" name="Picture Placeholder 14"/>
          <p:cNvSpPr>
            <a:spLocks noGrp="1"/>
          </p:cNvSpPr>
          <p:nvPr>
            <p:ph type="pic" sz="quarter" idx="12"/>
          </p:nvPr>
        </p:nvSpPr>
        <p:spPr>
          <a:xfrm>
            <a:off x="3597052" y="2148116"/>
            <a:ext cx="2351315" cy="2728684"/>
          </a:xfrm>
          <a:custGeom>
            <a:avLst/>
            <a:gdLst>
              <a:gd name="connsiteX0" fmla="*/ 0 w 2351315"/>
              <a:gd name="connsiteY0" fmla="*/ 0 h 2728684"/>
              <a:gd name="connsiteX1" fmla="*/ 2351315 w 2351315"/>
              <a:gd name="connsiteY1" fmla="*/ 0 h 2728684"/>
              <a:gd name="connsiteX2" fmla="*/ 2351315 w 2351315"/>
              <a:gd name="connsiteY2" fmla="*/ 2728684 h 2728684"/>
              <a:gd name="connsiteX3" fmla="*/ 0 w 2351315"/>
              <a:gd name="connsiteY3" fmla="*/ 2728684 h 2728684"/>
            </a:gdLst>
            <a:ahLst/>
            <a:cxnLst>
              <a:cxn ang="0">
                <a:pos x="connsiteX0" y="connsiteY0"/>
              </a:cxn>
              <a:cxn ang="0">
                <a:pos x="connsiteX1" y="connsiteY1"/>
              </a:cxn>
              <a:cxn ang="0">
                <a:pos x="connsiteX2" y="connsiteY2"/>
              </a:cxn>
              <a:cxn ang="0">
                <a:pos x="connsiteX3" y="connsiteY3"/>
              </a:cxn>
            </a:cxnLst>
            <a:rect l="l" t="t" r="r" b="b"/>
            <a:pathLst>
              <a:path w="2351315" h="2728684">
                <a:moveTo>
                  <a:pt x="0" y="0"/>
                </a:moveTo>
                <a:lnTo>
                  <a:pt x="2351315" y="0"/>
                </a:lnTo>
                <a:lnTo>
                  <a:pt x="2351315" y="2728684"/>
                </a:lnTo>
                <a:lnTo>
                  <a:pt x="0" y="272868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81" name="Picture Placeholder 13"/>
          <p:cNvSpPr>
            <a:spLocks noGrp="1"/>
          </p:cNvSpPr>
          <p:nvPr>
            <p:ph type="pic" sz="quarter" idx="13"/>
          </p:nvPr>
        </p:nvSpPr>
        <p:spPr>
          <a:xfrm>
            <a:off x="942282" y="2148116"/>
            <a:ext cx="2351315" cy="2728684"/>
          </a:xfrm>
          <a:custGeom>
            <a:avLst/>
            <a:gdLst>
              <a:gd name="connsiteX0" fmla="*/ 0 w 2351315"/>
              <a:gd name="connsiteY0" fmla="*/ 0 h 2728684"/>
              <a:gd name="connsiteX1" fmla="*/ 2351315 w 2351315"/>
              <a:gd name="connsiteY1" fmla="*/ 0 h 2728684"/>
              <a:gd name="connsiteX2" fmla="*/ 2351315 w 2351315"/>
              <a:gd name="connsiteY2" fmla="*/ 2728684 h 2728684"/>
              <a:gd name="connsiteX3" fmla="*/ 0 w 2351315"/>
              <a:gd name="connsiteY3" fmla="*/ 2728684 h 2728684"/>
            </a:gdLst>
            <a:ahLst/>
            <a:cxnLst>
              <a:cxn ang="0">
                <a:pos x="connsiteX0" y="connsiteY0"/>
              </a:cxn>
              <a:cxn ang="0">
                <a:pos x="connsiteX1" y="connsiteY1"/>
              </a:cxn>
              <a:cxn ang="0">
                <a:pos x="connsiteX2" y="connsiteY2"/>
              </a:cxn>
              <a:cxn ang="0">
                <a:pos x="connsiteX3" y="connsiteY3"/>
              </a:cxn>
            </a:cxnLst>
            <a:rect l="l" t="t" r="r" b="b"/>
            <a:pathLst>
              <a:path w="2351315" h="2728684">
                <a:moveTo>
                  <a:pt x="0" y="0"/>
                </a:moveTo>
                <a:lnTo>
                  <a:pt x="2351315" y="0"/>
                </a:lnTo>
                <a:lnTo>
                  <a:pt x="2351315" y="2728684"/>
                </a:lnTo>
                <a:lnTo>
                  <a:pt x="0" y="272868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049040" name="Picture Placeholder 11"/>
          <p:cNvSpPr>
            <a:spLocks noGrp="1"/>
          </p:cNvSpPr>
          <p:nvPr>
            <p:ph type="pic" sz="quarter" idx="10"/>
          </p:nvPr>
        </p:nvSpPr>
        <p:spPr>
          <a:xfrm>
            <a:off x="744071" y="3223077"/>
            <a:ext cx="3399770" cy="2532263"/>
          </a:xfrm>
          <a:custGeom>
            <a:avLst/>
            <a:gdLst>
              <a:gd name="connsiteX0" fmla="*/ 0 w 3399770"/>
              <a:gd name="connsiteY0" fmla="*/ 0 h 2532263"/>
              <a:gd name="connsiteX1" fmla="*/ 3399770 w 3399770"/>
              <a:gd name="connsiteY1" fmla="*/ 0 h 2532263"/>
              <a:gd name="connsiteX2" fmla="*/ 3399770 w 3399770"/>
              <a:gd name="connsiteY2" fmla="*/ 2532263 h 2532263"/>
              <a:gd name="connsiteX3" fmla="*/ 0 w 3399770"/>
              <a:gd name="connsiteY3" fmla="*/ 2532263 h 2532263"/>
            </a:gdLst>
            <a:ahLst/>
            <a:cxnLst>
              <a:cxn ang="0">
                <a:pos x="connsiteX0" y="connsiteY0"/>
              </a:cxn>
              <a:cxn ang="0">
                <a:pos x="connsiteX1" y="connsiteY1"/>
              </a:cxn>
              <a:cxn ang="0">
                <a:pos x="connsiteX2" y="connsiteY2"/>
              </a:cxn>
              <a:cxn ang="0">
                <a:pos x="connsiteX3" y="connsiteY3"/>
              </a:cxn>
            </a:cxnLst>
            <a:rect l="l" t="t" r="r" b="b"/>
            <a:pathLst>
              <a:path w="3399770" h="2532263">
                <a:moveTo>
                  <a:pt x="0" y="0"/>
                </a:moveTo>
                <a:lnTo>
                  <a:pt x="3399770" y="0"/>
                </a:lnTo>
                <a:lnTo>
                  <a:pt x="3399770" y="2532263"/>
                </a:lnTo>
                <a:lnTo>
                  <a:pt x="0" y="2532263"/>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41" name="Picture Placeholder 12"/>
          <p:cNvSpPr>
            <a:spLocks noGrp="1"/>
          </p:cNvSpPr>
          <p:nvPr>
            <p:ph type="pic" sz="quarter" idx="11"/>
          </p:nvPr>
        </p:nvSpPr>
        <p:spPr>
          <a:xfrm>
            <a:off x="4396115" y="3223077"/>
            <a:ext cx="3399770" cy="2532263"/>
          </a:xfrm>
          <a:custGeom>
            <a:avLst/>
            <a:gdLst>
              <a:gd name="connsiteX0" fmla="*/ 0 w 3399770"/>
              <a:gd name="connsiteY0" fmla="*/ 0 h 2532263"/>
              <a:gd name="connsiteX1" fmla="*/ 3399770 w 3399770"/>
              <a:gd name="connsiteY1" fmla="*/ 0 h 2532263"/>
              <a:gd name="connsiteX2" fmla="*/ 3399770 w 3399770"/>
              <a:gd name="connsiteY2" fmla="*/ 2532263 h 2532263"/>
              <a:gd name="connsiteX3" fmla="*/ 0 w 3399770"/>
              <a:gd name="connsiteY3" fmla="*/ 2532263 h 2532263"/>
            </a:gdLst>
            <a:ahLst/>
            <a:cxnLst>
              <a:cxn ang="0">
                <a:pos x="connsiteX0" y="connsiteY0"/>
              </a:cxn>
              <a:cxn ang="0">
                <a:pos x="connsiteX1" y="connsiteY1"/>
              </a:cxn>
              <a:cxn ang="0">
                <a:pos x="connsiteX2" y="connsiteY2"/>
              </a:cxn>
              <a:cxn ang="0">
                <a:pos x="connsiteX3" y="connsiteY3"/>
              </a:cxn>
            </a:cxnLst>
            <a:rect l="l" t="t" r="r" b="b"/>
            <a:pathLst>
              <a:path w="3399770" h="2532263">
                <a:moveTo>
                  <a:pt x="0" y="0"/>
                </a:moveTo>
                <a:lnTo>
                  <a:pt x="3399770" y="0"/>
                </a:lnTo>
                <a:lnTo>
                  <a:pt x="3399770" y="2532263"/>
                </a:lnTo>
                <a:lnTo>
                  <a:pt x="0" y="2532263"/>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42" name="Picture Placeholder 13"/>
          <p:cNvSpPr>
            <a:spLocks noGrp="1"/>
          </p:cNvSpPr>
          <p:nvPr>
            <p:ph type="pic" sz="quarter" idx="12"/>
          </p:nvPr>
        </p:nvSpPr>
        <p:spPr>
          <a:xfrm>
            <a:off x="8048159" y="3223077"/>
            <a:ext cx="3399770" cy="2532263"/>
          </a:xfrm>
          <a:custGeom>
            <a:avLst/>
            <a:gdLst>
              <a:gd name="connsiteX0" fmla="*/ 0 w 3399770"/>
              <a:gd name="connsiteY0" fmla="*/ 0 h 2532263"/>
              <a:gd name="connsiteX1" fmla="*/ 3399770 w 3399770"/>
              <a:gd name="connsiteY1" fmla="*/ 0 h 2532263"/>
              <a:gd name="connsiteX2" fmla="*/ 3399770 w 3399770"/>
              <a:gd name="connsiteY2" fmla="*/ 2532263 h 2532263"/>
              <a:gd name="connsiteX3" fmla="*/ 0 w 3399770"/>
              <a:gd name="connsiteY3" fmla="*/ 2532263 h 2532263"/>
            </a:gdLst>
            <a:ahLst/>
            <a:cxnLst>
              <a:cxn ang="0">
                <a:pos x="connsiteX0" y="connsiteY0"/>
              </a:cxn>
              <a:cxn ang="0">
                <a:pos x="connsiteX1" y="connsiteY1"/>
              </a:cxn>
              <a:cxn ang="0">
                <a:pos x="connsiteX2" y="connsiteY2"/>
              </a:cxn>
              <a:cxn ang="0">
                <a:pos x="connsiteX3" y="connsiteY3"/>
              </a:cxn>
            </a:cxnLst>
            <a:rect l="l" t="t" r="r" b="b"/>
            <a:pathLst>
              <a:path w="3399770" h="2532263">
                <a:moveTo>
                  <a:pt x="0" y="0"/>
                </a:moveTo>
                <a:lnTo>
                  <a:pt x="3399770" y="0"/>
                </a:lnTo>
                <a:lnTo>
                  <a:pt x="3399770" y="2532263"/>
                </a:lnTo>
                <a:lnTo>
                  <a:pt x="0" y="2532263"/>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049069" name="Rectangle 8"/>
          <p:cNvSpPr/>
          <p:nvPr userDrawn="1"/>
        </p:nvSpPr>
        <p:spPr>
          <a:xfrm>
            <a:off x="0" y="2514600"/>
            <a:ext cx="12192000" cy="2286000"/>
          </a:xfrm>
          <a:prstGeom prst="rect">
            <a:avLst/>
          </a:prstGeom>
          <a:gradFill>
            <a:gsLst>
              <a:gs pos="0">
                <a:srgbClr val="00B0F0"/>
              </a:gs>
              <a:gs pos="100000">
                <a:srgbClr val="00206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70" name="Picture Placeholder 14"/>
          <p:cNvSpPr>
            <a:spLocks noGrp="1"/>
          </p:cNvSpPr>
          <p:nvPr>
            <p:ph type="pic" sz="quarter" idx="10"/>
          </p:nvPr>
        </p:nvSpPr>
        <p:spPr>
          <a:xfrm>
            <a:off x="830580" y="1600200"/>
            <a:ext cx="3017520" cy="4114800"/>
          </a:xfrm>
          <a:custGeom>
            <a:avLst/>
            <a:gdLst>
              <a:gd name="connsiteX0" fmla="*/ 0 w 3848100"/>
              <a:gd name="connsiteY0" fmla="*/ 0 h 2495550"/>
              <a:gd name="connsiteX1" fmla="*/ 3848100 w 3848100"/>
              <a:gd name="connsiteY1" fmla="*/ 0 h 2495550"/>
              <a:gd name="connsiteX2" fmla="*/ 3848100 w 3848100"/>
              <a:gd name="connsiteY2" fmla="*/ 2495550 h 2495550"/>
              <a:gd name="connsiteX3" fmla="*/ 0 w 3848100"/>
              <a:gd name="connsiteY3" fmla="*/ 2495550 h 2495550"/>
            </a:gdLst>
            <a:ahLst/>
            <a:cxnLst>
              <a:cxn ang="0">
                <a:pos x="connsiteX0" y="connsiteY0"/>
              </a:cxn>
              <a:cxn ang="0">
                <a:pos x="connsiteX1" y="connsiteY1"/>
              </a:cxn>
              <a:cxn ang="0">
                <a:pos x="connsiteX2" y="connsiteY2"/>
              </a:cxn>
              <a:cxn ang="0">
                <a:pos x="connsiteX3" y="connsiteY3"/>
              </a:cxn>
            </a:cxnLst>
            <a:rect l="l" t="t" r="r" b="b"/>
            <a:pathLst>
              <a:path w="3848100" h="2495550">
                <a:moveTo>
                  <a:pt x="0" y="0"/>
                </a:moveTo>
                <a:lnTo>
                  <a:pt x="3848100" y="0"/>
                </a:lnTo>
                <a:lnTo>
                  <a:pt x="3848100" y="2495550"/>
                </a:lnTo>
                <a:lnTo>
                  <a:pt x="0" y="2495550"/>
                </a:lnTo>
                <a:close/>
              </a:path>
            </a:pathLst>
          </a:custGeom>
          <a:pattFill prst="solidDmnd">
            <a:fgClr>
              <a:schemeClr val="bg1">
                <a:lumMod val="85000"/>
              </a:schemeClr>
            </a:fgClr>
            <a:bgClr>
              <a:schemeClr val="bg1"/>
            </a:bgClr>
          </a:pattFill>
          <a:ln w="28575">
            <a:gradFill>
              <a:gsLst>
                <a:gs pos="0">
                  <a:srgbClr val="00B0F0"/>
                </a:gs>
                <a:gs pos="100000">
                  <a:srgbClr val="002060"/>
                </a:gs>
              </a:gsLst>
              <a:lin ang="2700000" scaled="0"/>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71" name="Picture Placeholder 13"/>
          <p:cNvSpPr>
            <a:spLocks noGrp="1"/>
          </p:cNvSpPr>
          <p:nvPr>
            <p:ph type="pic" sz="quarter" idx="11"/>
          </p:nvPr>
        </p:nvSpPr>
        <p:spPr>
          <a:xfrm>
            <a:off x="4587240" y="1600200"/>
            <a:ext cx="3017520" cy="4114800"/>
          </a:xfrm>
          <a:custGeom>
            <a:avLst/>
            <a:gdLst>
              <a:gd name="connsiteX0" fmla="*/ 0 w 3848100"/>
              <a:gd name="connsiteY0" fmla="*/ 0 h 2495550"/>
              <a:gd name="connsiteX1" fmla="*/ 3848100 w 3848100"/>
              <a:gd name="connsiteY1" fmla="*/ 0 h 2495550"/>
              <a:gd name="connsiteX2" fmla="*/ 3848100 w 3848100"/>
              <a:gd name="connsiteY2" fmla="*/ 2495550 h 2495550"/>
              <a:gd name="connsiteX3" fmla="*/ 0 w 3848100"/>
              <a:gd name="connsiteY3" fmla="*/ 2495550 h 2495550"/>
            </a:gdLst>
            <a:ahLst/>
            <a:cxnLst>
              <a:cxn ang="0">
                <a:pos x="connsiteX0" y="connsiteY0"/>
              </a:cxn>
              <a:cxn ang="0">
                <a:pos x="connsiteX1" y="connsiteY1"/>
              </a:cxn>
              <a:cxn ang="0">
                <a:pos x="connsiteX2" y="connsiteY2"/>
              </a:cxn>
              <a:cxn ang="0">
                <a:pos x="connsiteX3" y="connsiteY3"/>
              </a:cxn>
            </a:cxnLst>
            <a:rect l="l" t="t" r="r" b="b"/>
            <a:pathLst>
              <a:path w="3848100" h="2495550">
                <a:moveTo>
                  <a:pt x="0" y="0"/>
                </a:moveTo>
                <a:lnTo>
                  <a:pt x="3848100" y="0"/>
                </a:lnTo>
                <a:lnTo>
                  <a:pt x="3848100" y="2495550"/>
                </a:lnTo>
                <a:lnTo>
                  <a:pt x="0" y="2495550"/>
                </a:lnTo>
                <a:close/>
              </a:path>
            </a:pathLst>
          </a:custGeom>
          <a:pattFill prst="solidDmnd">
            <a:fgClr>
              <a:schemeClr val="bg1">
                <a:lumMod val="85000"/>
              </a:schemeClr>
            </a:fgClr>
            <a:bgClr>
              <a:schemeClr val="bg1"/>
            </a:bgClr>
          </a:pattFill>
          <a:ln w="28575">
            <a:gradFill>
              <a:gsLst>
                <a:gs pos="0">
                  <a:srgbClr val="00B0F0"/>
                </a:gs>
                <a:gs pos="100000">
                  <a:srgbClr val="002060"/>
                </a:gs>
              </a:gsLst>
              <a:lin ang="2700000" scaled="0"/>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72" name="Picture Placeholder 12"/>
          <p:cNvSpPr>
            <a:spLocks noGrp="1"/>
          </p:cNvSpPr>
          <p:nvPr>
            <p:ph type="pic" sz="quarter" idx="12"/>
          </p:nvPr>
        </p:nvSpPr>
        <p:spPr>
          <a:xfrm>
            <a:off x="8343900" y="1600200"/>
            <a:ext cx="3017520" cy="4114800"/>
          </a:xfrm>
          <a:custGeom>
            <a:avLst/>
            <a:gdLst>
              <a:gd name="connsiteX0" fmla="*/ 0 w 3848100"/>
              <a:gd name="connsiteY0" fmla="*/ 0 h 2495550"/>
              <a:gd name="connsiteX1" fmla="*/ 3848100 w 3848100"/>
              <a:gd name="connsiteY1" fmla="*/ 0 h 2495550"/>
              <a:gd name="connsiteX2" fmla="*/ 3848100 w 3848100"/>
              <a:gd name="connsiteY2" fmla="*/ 2495550 h 2495550"/>
              <a:gd name="connsiteX3" fmla="*/ 0 w 3848100"/>
              <a:gd name="connsiteY3" fmla="*/ 2495550 h 2495550"/>
            </a:gdLst>
            <a:ahLst/>
            <a:cxnLst>
              <a:cxn ang="0">
                <a:pos x="connsiteX0" y="connsiteY0"/>
              </a:cxn>
              <a:cxn ang="0">
                <a:pos x="connsiteX1" y="connsiteY1"/>
              </a:cxn>
              <a:cxn ang="0">
                <a:pos x="connsiteX2" y="connsiteY2"/>
              </a:cxn>
              <a:cxn ang="0">
                <a:pos x="connsiteX3" y="connsiteY3"/>
              </a:cxn>
            </a:cxnLst>
            <a:rect l="l" t="t" r="r" b="b"/>
            <a:pathLst>
              <a:path w="3848100" h="2495550">
                <a:moveTo>
                  <a:pt x="0" y="0"/>
                </a:moveTo>
                <a:lnTo>
                  <a:pt x="3848100" y="0"/>
                </a:lnTo>
                <a:lnTo>
                  <a:pt x="3848100" y="2495550"/>
                </a:lnTo>
                <a:lnTo>
                  <a:pt x="0" y="2495550"/>
                </a:lnTo>
                <a:close/>
              </a:path>
            </a:pathLst>
          </a:custGeom>
          <a:pattFill prst="solidDmnd">
            <a:fgClr>
              <a:schemeClr val="bg1">
                <a:lumMod val="85000"/>
              </a:schemeClr>
            </a:fgClr>
            <a:bgClr>
              <a:schemeClr val="bg1"/>
            </a:bgClr>
          </a:pattFill>
          <a:ln w="28575">
            <a:gradFill>
              <a:gsLst>
                <a:gs pos="0">
                  <a:srgbClr val="00B0F0"/>
                </a:gs>
                <a:gs pos="100000">
                  <a:srgbClr val="002060"/>
                </a:gs>
              </a:gsLst>
              <a:lin ang="2700000" scaled="0"/>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73" name="Rectangle 5"/>
          <p:cNvSpPr/>
          <p:nvPr userDrawn="1"/>
        </p:nvSpPr>
        <p:spPr>
          <a:xfrm>
            <a:off x="-1" y="6784848"/>
            <a:ext cx="12191999" cy="73152"/>
          </a:xfrm>
          <a:prstGeom prst="rect">
            <a:avLst/>
          </a:prstGeom>
          <a:gradFill>
            <a:gsLst>
              <a:gs pos="0">
                <a:srgbClr val="00B0F0"/>
              </a:gs>
              <a:gs pos="100000">
                <a:srgbClr val="00206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1049100" name="Rectangle 8"/>
          <p:cNvSpPr/>
          <p:nvPr userDrawn="1"/>
        </p:nvSpPr>
        <p:spPr>
          <a:xfrm>
            <a:off x="0" y="2286000"/>
            <a:ext cx="12192000" cy="2286000"/>
          </a:xfrm>
          <a:prstGeom prst="rect">
            <a:avLst/>
          </a:prstGeom>
          <a:gradFill>
            <a:gsLst>
              <a:gs pos="0">
                <a:srgbClr val="00B0F0"/>
              </a:gs>
              <a:gs pos="100000">
                <a:srgbClr val="00206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01" name="Picture Placeholder 14"/>
          <p:cNvSpPr>
            <a:spLocks noGrp="1"/>
          </p:cNvSpPr>
          <p:nvPr>
            <p:ph type="pic" sz="quarter" idx="10"/>
          </p:nvPr>
        </p:nvSpPr>
        <p:spPr>
          <a:xfrm>
            <a:off x="830580" y="1600200"/>
            <a:ext cx="2377440" cy="3657600"/>
          </a:xfrm>
          <a:custGeom>
            <a:avLst/>
            <a:gdLst>
              <a:gd name="connsiteX0" fmla="*/ 0 w 3848100"/>
              <a:gd name="connsiteY0" fmla="*/ 0 h 2495550"/>
              <a:gd name="connsiteX1" fmla="*/ 3848100 w 3848100"/>
              <a:gd name="connsiteY1" fmla="*/ 0 h 2495550"/>
              <a:gd name="connsiteX2" fmla="*/ 3848100 w 3848100"/>
              <a:gd name="connsiteY2" fmla="*/ 2495550 h 2495550"/>
              <a:gd name="connsiteX3" fmla="*/ 0 w 3848100"/>
              <a:gd name="connsiteY3" fmla="*/ 2495550 h 2495550"/>
            </a:gdLst>
            <a:ahLst/>
            <a:cxnLst>
              <a:cxn ang="0">
                <a:pos x="connsiteX0" y="connsiteY0"/>
              </a:cxn>
              <a:cxn ang="0">
                <a:pos x="connsiteX1" y="connsiteY1"/>
              </a:cxn>
              <a:cxn ang="0">
                <a:pos x="connsiteX2" y="connsiteY2"/>
              </a:cxn>
              <a:cxn ang="0">
                <a:pos x="connsiteX3" y="connsiteY3"/>
              </a:cxn>
            </a:cxnLst>
            <a:rect l="l" t="t" r="r" b="b"/>
            <a:pathLst>
              <a:path w="3848100" h="2495550">
                <a:moveTo>
                  <a:pt x="0" y="0"/>
                </a:moveTo>
                <a:lnTo>
                  <a:pt x="3848100" y="0"/>
                </a:lnTo>
                <a:lnTo>
                  <a:pt x="3848100" y="2495550"/>
                </a:lnTo>
                <a:lnTo>
                  <a:pt x="0" y="2495550"/>
                </a:lnTo>
                <a:close/>
              </a:path>
            </a:pathLst>
          </a:custGeom>
          <a:pattFill prst="solidDmnd">
            <a:fgClr>
              <a:schemeClr val="bg1">
                <a:lumMod val="85000"/>
              </a:schemeClr>
            </a:fgClr>
            <a:bgClr>
              <a:schemeClr val="bg1"/>
            </a:bgClr>
          </a:pattFill>
          <a:ln w="28575">
            <a:gradFill>
              <a:gsLst>
                <a:gs pos="0">
                  <a:srgbClr val="00B0F0"/>
                </a:gs>
                <a:gs pos="100000">
                  <a:srgbClr val="002060"/>
                </a:gs>
              </a:gsLst>
              <a:lin ang="2700000" scaled="0"/>
            </a:gradFill>
          </a:ln>
        </p:spPr>
        <p:txBody>
          <a:bodyPr wrap="square" anchor="ctr">
            <a:noAutofit/>
          </a:bodyPr>
          <a:lstStyle>
            <a:lvl1pPr algn="ctr">
              <a:defRPr sz="1600">
                <a:solidFill>
                  <a:schemeClr val="tx1">
                    <a:lumMod val="75000"/>
                    <a:lumOff val="25000"/>
                  </a:schemeClr>
                </a:solidFill>
              </a:defRPr>
            </a:lvl1pPr>
          </a:lstStyle>
          <a:p>
            <a:endParaRPr lang="en-US" dirty="0"/>
          </a:p>
        </p:txBody>
      </p:sp>
      <p:sp>
        <p:nvSpPr>
          <p:cNvPr id="1049102" name="Picture Placeholder 13"/>
          <p:cNvSpPr>
            <a:spLocks noGrp="1"/>
          </p:cNvSpPr>
          <p:nvPr>
            <p:ph type="pic" sz="quarter" idx="11"/>
          </p:nvPr>
        </p:nvSpPr>
        <p:spPr>
          <a:xfrm>
            <a:off x="6266180" y="1600200"/>
            <a:ext cx="2377440" cy="3657600"/>
          </a:xfrm>
          <a:custGeom>
            <a:avLst/>
            <a:gdLst>
              <a:gd name="connsiteX0" fmla="*/ 0 w 3848100"/>
              <a:gd name="connsiteY0" fmla="*/ 0 h 2495550"/>
              <a:gd name="connsiteX1" fmla="*/ 3848100 w 3848100"/>
              <a:gd name="connsiteY1" fmla="*/ 0 h 2495550"/>
              <a:gd name="connsiteX2" fmla="*/ 3848100 w 3848100"/>
              <a:gd name="connsiteY2" fmla="*/ 2495550 h 2495550"/>
              <a:gd name="connsiteX3" fmla="*/ 0 w 3848100"/>
              <a:gd name="connsiteY3" fmla="*/ 2495550 h 2495550"/>
            </a:gdLst>
            <a:ahLst/>
            <a:cxnLst>
              <a:cxn ang="0">
                <a:pos x="connsiteX0" y="connsiteY0"/>
              </a:cxn>
              <a:cxn ang="0">
                <a:pos x="connsiteX1" y="connsiteY1"/>
              </a:cxn>
              <a:cxn ang="0">
                <a:pos x="connsiteX2" y="connsiteY2"/>
              </a:cxn>
              <a:cxn ang="0">
                <a:pos x="connsiteX3" y="connsiteY3"/>
              </a:cxn>
            </a:cxnLst>
            <a:rect l="l" t="t" r="r" b="b"/>
            <a:pathLst>
              <a:path w="3848100" h="2495550">
                <a:moveTo>
                  <a:pt x="0" y="0"/>
                </a:moveTo>
                <a:lnTo>
                  <a:pt x="3848100" y="0"/>
                </a:lnTo>
                <a:lnTo>
                  <a:pt x="3848100" y="2495550"/>
                </a:lnTo>
                <a:lnTo>
                  <a:pt x="0" y="2495550"/>
                </a:lnTo>
                <a:close/>
              </a:path>
            </a:pathLst>
          </a:custGeom>
          <a:pattFill prst="solidDmnd">
            <a:fgClr>
              <a:schemeClr val="bg1">
                <a:lumMod val="85000"/>
              </a:schemeClr>
            </a:fgClr>
            <a:bgClr>
              <a:schemeClr val="bg1"/>
            </a:bgClr>
          </a:pattFill>
          <a:ln w="28575">
            <a:gradFill>
              <a:gsLst>
                <a:gs pos="0">
                  <a:srgbClr val="00B0F0"/>
                </a:gs>
                <a:gs pos="100000">
                  <a:srgbClr val="002060"/>
                </a:gs>
              </a:gsLst>
              <a:lin ang="2700000" scaled="0"/>
            </a:gradFill>
          </a:ln>
        </p:spPr>
        <p:txBody>
          <a:bodyPr wrap="square" anchor="ctr">
            <a:noAutofit/>
          </a:bodyPr>
          <a:lstStyle>
            <a:lvl1pPr algn="ctr">
              <a:defRPr sz="1600">
                <a:solidFill>
                  <a:schemeClr val="tx1">
                    <a:lumMod val="75000"/>
                    <a:lumOff val="25000"/>
                  </a:schemeClr>
                </a:solidFill>
              </a:defRPr>
            </a:lvl1pPr>
          </a:lstStyle>
          <a:p>
            <a:endParaRPr lang="en-US" dirty="0"/>
          </a:p>
        </p:txBody>
      </p:sp>
      <p:sp>
        <p:nvSpPr>
          <p:cNvPr id="1049103" name="Picture Placeholder 12"/>
          <p:cNvSpPr>
            <a:spLocks noGrp="1"/>
          </p:cNvSpPr>
          <p:nvPr>
            <p:ph type="pic" sz="quarter" idx="12"/>
          </p:nvPr>
        </p:nvSpPr>
        <p:spPr>
          <a:xfrm>
            <a:off x="8983980" y="1600200"/>
            <a:ext cx="2377440" cy="3657600"/>
          </a:xfrm>
          <a:custGeom>
            <a:avLst/>
            <a:gdLst>
              <a:gd name="connsiteX0" fmla="*/ 0 w 3848100"/>
              <a:gd name="connsiteY0" fmla="*/ 0 h 2495550"/>
              <a:gd name="connsiteX1" fmla="*/ 3848100 w 3848100"/>
              <a:gd name="connsiteY1" fmla="*/ 0 h 2495550"/>
              <a:gd name="connsiteX2" fmla="*/ 3848100 w 3848100"/>
              <a:gd name="connsiteY2" fmla="*/ 2495550 h 2495550"/>
              <a:gd name="connsiteX3" fmla="*/ 0 w 3848100"/>
              <a:gd name="connsiteY3" fmla="*/ 2495550 h 2495550"/>
            </a:gdLst>
            <a:ahLst/>
            <a:cxnLst>
              <a:cxn ang="0">
                <a:pos x="connsiteX0" y="connsiteY0"/>
              </a:cxn>
              <a:cxn ang="0">
                <a:pos x="connsiteX1" y="connsiteY1"/>
              </a:cxn>
              <a:cxn ang="0">
                <a:pos x="connsiteX2" y="connsiteY2"/>
              </a:cxn>
              <a:cxn ang="0">
                <a:pos x="connsiteX3" y="connsiteY3"/>
              </a:cxn>
            </a:cxnLst>
            <a:rect l="l" t="t" r="r" b="b"/>
            <a:pathLst>
              <a:path w="3848100" h="2495550">
                <a:moveTo>
                  <a:pt x="0" y="0"/>
                </a:moveTo>
                <a:lnTo>
                  <a:pt x="3848100" y="0"/>
                </a:lnTo>
                <a:lnTo>
                  <a:pt x="3848100" y="2495550"/>
                </a:lnTo>
                <a:lnTo>
                  <a:pt x="0" y="2495550"/>
                </a:lnTo>
                <a:close/>
              </a:path>
            </a:pathLst>
          </a:custGeom>
          <a:pattFill prst="solidDmnd">
            <a:fgClr>
              <a:schemeClr val="bg1">
                <a:lumMod val="85000"/>
              </a:schemeClr>
            </a:fgClr>
            <a:bgClr>
              <a:schemeClr val="bg1"/>
            </a:bgClr>
          </a:pattFill>
          <a:ln w="28575">
            <a:gradFill>
              <a:gsLst>
                <a:gs pos="0">
                  <a:srgbClr val="00B0F0"/>
                </a:gs>
                <a:gs pos="100000">
                  <a:srgbClr val="002060"/>
                </a:gs>
              </a:gsLst>
              <a:lin ang="2700000" scaled="0"/>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04" name="Rectangle 5"/>
          <p:cNvSpPr/>
          <p:nvPr userDrawn="1"/>
        </p:nvSpPr>
        <p:spPr>
          <a:xfrm>
            <a:off x="-1" y="6784848"/>
            <a:ext cx="12191999" cy="73152"/>
          </a:xfrm>
          <a:prstGeom prst="rect">
            <a:avLst/>
          </a:prstGeom>
          <a:gradFill>
            <a:gsLst>
              <a:gs pos="0">
                <a:srgbClr val="00B0F0"/>
              </a:gs>
              <a:gs pos="100000">
                <a:srgbClr val="00206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05" name="Picture Placeholder 14"/>
          <p:cNvSpPr>
            <a:spLocks noGrp="1"/>
          </p:cNvSpPr>
          <p:nvPr>
            <p:ph type="pic" sz="quarter" idx="13"/>
          </p:nvPr>
        </p:nvSpPr>
        <p:spPr>
          <a:xfrm>
            <a:off x="3548380" y="1600200"/>
            <a:ext cx="2377440" cy="3657600"/>
          </a:xfrm>
          <a:custGeom>
            <a:avLst/>
            <a:gdLst>
              <a:gd name="connsiteX0" fmla="*/ 0 w 3848100"/>
              <a:gd name="connsiteY0" fmla="*/ 0 h 2495550"/>
              <a:gd name="connsiteX1" fmla="*/ 3848100 w 3848100"/>
              <a:gd name="connsiteY1" fmla="*/ 0 h 2495550"/>
              <a:gd name="connsiteX2" fmla="*/ 3848100 w 3848100"/>
              <a:gd name="connsiteY2" fmla="*/ 2495550 h 2495550"/>
              <a:gd name="connsiteX3" fmla="*/ 0 w 3848100"/>
              <a:gd name="connsiteY3" fmla="*/ 2495550 h 2495550"/>
            </a:gdLst>
            <a:ahLst/>
            <a:cxnLst>
              <a:cxn ang="0">
                <a:pos x="connsiteX0" y="connsiteY0"/>
              </a:cxn>
              <a:cxn ang="0">
                <a:pos x="connsiteX1" y="connsiteY1"/>
              </a:cxn>
              <a:cxn ang="0">
                <a:pos x="connsiteX2" y="connsiteY2"/>
              </a:cxn>
              <a:cxn ang="0">
                <a:pos x="connsiteX3" y="connsiteY3"/>
              </a:cxn>
            </a:cxnLst>
            <a:rect l="l" t="t" r="r" b="b"/>
            <a:pathLst>
              <a:path w="3848100" h="2495550">
                <a:moveTo>
                  <a:pt x="0" y="0"/>
                </a:moveTo>
                <a:lnTo>
                  <a:pt x="3848100" y="0"/>
                </a:lnTo>
                <a:lnTo>
                  <a:pt x="3848100" y="2495550"/>
                </a:lnTo>
                <a:lnTo>
                  <a:pt x="0" y="2495550"/>
                </a:lnTo>
                <a:close/>
              </a:path>
            </a:pathLst>
          </a:custGeom>
          <a:pattFill prst="solidDmnd">
            <a:fgClr>
              <a:schemeClr val="bg1">
                <a:lumMod val="85000"/>
              </a:schemeClr>
            </a:fgClr>
            <a:bgClr>
              <a:schemeClr val="bg1"/>
            </a:bgClr>
          </a:pattFill>
          <a:ln w="28575">
            <a:gradFill>
              <a:gsLst>
                <a:gs pos="0">
                  <a:srgbClr val="00B0F0"/>
                </a:gs>
                <a:gs pos="100000">
                  <a:srgbClr val="002060"/>
                </a:gs>
              </a:gsLst>
              <a:lin ang="2700000" scaled="0"/>
            </a:gradFill>
          </a:ln>
        </p:spPr>
        <p:txBody>
          <a:bodyPr wrap="square" anchor="ctr">
            <a:noAutofit/>
          </a:bodyPr>
          <a:lstStyle>
            <a:lvl1pPr algn="ctr">
              <a:defRPr sz="1600">
                <a:solidFill>
                  <a:schemeClr val="tx1">
                    <a:lumMod val="75000"/>
                    <a:lumOff val="25000"/>
                  </a:schemeClr>
                </a:solidFill>
              </a:defRPr>
            </a:lvl1pPr>
          </a:lstStyle>
          <a:p>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049090" name="Freeform 5"/>
          <p:cNvSpPr/>
          <p:nvPr userDrawn="1"/>
        </p:nvSpPr>
        <p:spPr>
          <a:xfrm rot="16200000">
            <a:off x="7040835" y="1706833"/>
            <a:ext cx="6857999" cy="3444333"/>
          </a:xfrm>
          <a:custGeom>
            <a:avLst/>
            <a:gdLst>
              <a:gd name="connsiteX0" fmla="*/ 6857999 w 6857999"/>
              <a:gd name="connsiteY0" fmla="*/ 1874468 h 3444333"/>
              <a:gd name="connsiteX1" fmla="*/ 6857999 w 6857999"/>
              <a:gd name="connsiteY1" fmla="*/ 3444333 h 3444333"/>
              <a:gd name="connsiteX2" fmla="*/ 0 w 6857999"/>
              <a:gd name="connsiteY2" fmla="*/ 3444333 h 3444333"/>
              <a:gd name="connsiteX3" fmla="*/ 0 w 6857999"/>
              <a:gd name="connsiteY3" fmla="*/ 1874468 h 3444333"/>
              <a:gd name="connsiteX4" fmla="*/ 3429000 w 6857999"/>
              <a:gd name="connsiteY4" fmla="*/ 0 h 3444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99" h="3444333">
                <a:moveTo>
                  <a:pt x="6857999" y="1874468"/>
                </a:moveTo>
                <a:lnTo>
                  <a:pt x="6857999" y="3444333"/>
                </a:lnTo>
                <a:lnTo>
                  <a:pt x="0" y="3444333"/>
                </a:lnTo>
                <a:lnTo>
                  <a:pt x="0" y="1874468"/>
                </a:lnTo>
                <a:lnTo>
                  <a:pt x="342900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91" name="Oval 6"/>
          <p:cNvSpPr/>
          <p:nvPr userDrawn="1"/>
        </p:nvSpPr>
        <p:spPr>
          <a:xfrm>
            <a:off x="7239167" y="1421039"/>
            <a:ext cx="4015922" cy="4015922"/>
          </a:xfrm>
          <a:prstGeom prst="ellipse">
            <a:avLst/>
          </a:prstGeom>
          <a:solidFill>
            <a:schemeClr val="bg1"/>
          </a:solidFill>
          <a:ln>
            <a:noFill/>
          </a:ln>
          <a:effectLst>
            <a:outerShdw blurRad="190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9092" name="Picture Placeholder 9"/>
          <p:cNvSpPr>
            <a:spLocks noGrp="1"/>
          </p:cNvSpPr>
          <p:nvPr>
            <p:ph type="pic" sz="quarter" idx="10"/>
          </p:nvPr>
        </p:nvSpPr>
        <p:spPr>
          <a:xfrm>
            <a:off x="7382949" y="1564821"/>
            <a:ext cx="3728358" cy="3728358"/>
          </a:xfrm>
          <a:custGeom>
            <a:avLst/>
            <a:gdLst>
              <a:gd name="connsiteX0" fmla="*/ 1864179 w 3728358"/>
              <a:gd name="connsiteY0" fmla="*/ 0 h 3728358"/>
              <a:gd name="connsiteX1" fmla="*/ 3728358 w 3728358"/>
              <a:gd name="connsiteY1" fmla="*/ 1864179 h 3728358"/>
              <a:gd name="connsiteX2" fmla="*/ 1864179 w 3728358"/>
              <a:gd name="connsiteY2" fmla="*/ 3728358 h 3728358"/>
              <a:gd name="connsiteX3" fmla="*/ 0 w 3728358"/>
              <a:gd name="connsiteY3" fmla="*/ 1864179 h 3728358"/>
              <a:gd name="connsiteX4" fmla="*/ 1864179 w 3728358"/>
              <a:gd name="connsiteY4" fmla="*/ 0 h 372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8358" h="3728358">
                <a:moveTo>
                  <a:pt x="1864179" y="0"/>
                </a:moveTo>
                <a:cubicBezTo>
                  <a:pt x="2893737" y="0"/>
                  <a:pt x="3728358" y="834621"/>
                  <a:pt x="3728358" y="1864179"/>
                </a:cubicBezTo>
                <a:cubicBezTo>
                  <a:pt x="3728358" y="2893737"/>
                  <a:pt x="2893737" y="3728358"/>
                  <a:pt x="1864179" y="3728358"/>
                </a:cubicBezTo>
                <a:cubicBezTo>
                  <a:pt x="834621" y="3728358"/>
                  <a:pt x="0" y="2893737"/>
                  <a:pt x="0" y="1864179"/>
                </a:cubicBezTo>
                <a:cubicBezTo>
                  <a:pt x="0" y="834621"/>
                  <a:pt x="834621" y="0"/>
                  <a:pt x="1864179"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93" name="Rectangle 4"/>
          <p:cNvSpPr/>
          <p:nvPr userDrawn="1"/>
        </p:nvSpPr>
        <p:spPr>
          <a:xfrm>
            <a:off x="0" y="6784848"/>
            <a:ext cx="12192000" cy="73152"/>
          </a:xfrm>
          <a:prstGeom prst="rect">
            <a:avLst/>
          </a:prstGeom>
          <a:solidFill>
            <a:srgbClr val="0087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049110" name="Picture Placeholder 8"/>
          <p:cNvSpPr>
            <a:spLocks noGrp="1"/>
          </p:cNvSpPr>
          <p:nvPr>
            <p:ph type="pic" sz="quarter" idx="10"/>
          </p:nvPr>
        </p:nvSpPr>
        <p:spPr>
          <a:xfrm>
            <a:off x="1" y="3790950"/>
            <a:ext cx="5442857" cy="3067050"/>
          </a:xfrm>
          <a:custGeom>
            <a:avLst/>
            <a:gdLst>
              <a:gd name="connsiteX0" fmla="*/ 0 w 5442857"/>
              <a:gd name="connsiteY0" fmla="*/ 0 h 3067050"/>
              <a:gd name="connsiteX1" fmla="*/ 5442857 w 5442857"/>
              <a:gd name="connsiteY1" fmla="*/ 0 h 3067050"/>
              <a:gd name="connsiteX2" fmla="*/ 5442857 w 5442857"/>
              <a:gd name="connsiteY2" fmla="*/ 3067050 h 3067050"/>
              <a:gd name="connsiteX3" fmla="*/ 0 w 5442857"/>
              <a:gd name="connsiteY3" fmla="*/ 3067050 h 3067050"/>
            </a:gdLst>
            <a:ahLst/>
            <a:cxnLst>
              <a:cxn ang="0">
                <a:pos x="connsiteX0" y="connsiteY0"/>
              </a:cxn>
              <a:cxn ang="0">
                <a:pos x="connsiteX1" y="connsiteY1"/>
              </a:cxn>
              <a:cxn ang="0">
                <a:pos x="connsiteX2" y="connsiteY2"/>
              </a:cxn>
              <a:cxn ang="0">
                <a:pos x="connsiteX3" y="connsiteY3"/>
              </a:cxn>
            </a:cxnLst>
            <a:rect l="l" t="t" r="r" b="b"/>
            <a:pathLst>
              <a:path w="5442857" h="3067050">
                <a:moveTo>
                  <a:pt x="0" y="0"/>
                </a:moveTo>
                <a:lnTo>
                  <a:pt x="5442857" y="0"/>
                </a:lnTo>
                <a:lnTo>
                  <a:pt x="5442857" y="3067050"/>
                </a:lnTo>
                <a:lnTo>
                  <a:pt x="0" y="306705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11" name="Picture Placeholder 10"/>
          <p:cNvSpPr>
            <a:spLocks noGrp="1"/>
          </p:cNvSpPr>
          <p:nvPr>
            <p:ph type="pic" sz="quarter" idx="11"/>
          </p:nvPr>
        </p:nvSpPr>
        <p:spPr>
          <a:xfrm>
            <a:off x="6881586" y="1"/>
            <a:ext cx="4524829" cy="2775855"/>
          </a:xfrm>
          <a:custGeom>
            <a:avLst/>
            <a:gdLst>
              <a:gd name="connsiteX0" fmla="*/ 0 w 4524829"/>
              <a:gd name="connsiteY0" fmla="*/ 0 h 2775855"/>
              <a:gd name="connsiteX1" fmla="*/ 4524829 w 4524829"/>
              <a:gd name="connsiteY1" fmla="*/ 0 h 2775855"/>
              <a:gd name="connsiteX2" fmla="*/ 4524829 w 4524829"/>
              <a:gd name="connsiteY2" fmla="*/ 2775855 h 2775855"/>
              <a:gd name="connsiteX3" fmla="*/ 0 w 4524829"/>
              <a:gd name="connsiteY3" fmla="*/ 2775855 h 2775855"/>
            </a:gdLst>
            <a:ahLst/>
            <a:cxnLst>
              <a:cxn ang="0">
                <a:pos x="connsiteX0" y="connsiteY0"/>
              </a:cxn>
              <a:cxn ang="0">
                <a:pos x="connsiteX1" y="connsiteY1"/>
              </a:cxn>
              <a:cxn ang="0">
                <a:pos x="connsiteX2" y="connsiteY2"/>
              </a:cxn>
              <a:cxn ang="0">
                <a:pos x="connsiteX3" y="connsiteY3"/>
              </a:cxn>
            </a:cxnLst>
            <a:rect l="l" t="t" r="r" b="b"/>
            <a:pathLst>
              <a:path w="4524829" h="2775855">
                <a:moveTo>
                  <a:pt x="0" y="0"/>
                </a:moveTo>
                <a:lnTo>
                  <a:pt x="4524829" y="0"/>
                </a:lnTo>
                <a:lnTo>
                  <a:pt x="4524829" y="2775855"/>
                </a:lnTo>
                <a:lnTo>
                  <a:pt x="0" y="2775855"/>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049119" name="Picture Placeholder 7"/>
          <p:cNvSpPr>
            <a:spLocks noGrp="1"/>
          </p:cNvSpPr>
          <p:nvPr>
            <p:ph type="pic" sz="quarter" idx="10"/>
          </p:nvPr>
        </p:nvSpPr>
        <p:spPr>
          <a:xfrm>
            <a:off x="6096000" y="3429000"/>
            <a:ext cx="6096000" cy="3429000"/>
          </a:xfrm>
          <a:custGeom>
            <a:avLst/>
            <a:gdLst>
              <a:gd name="connsiteX0" fmla="*/ 0 w 6096000"/>
              <a:gd name="connsiteY0" fmla="*/ 0 h 3429000"/>
              <a:gd name="connsiteX1" fmla="*/ 6096000 w 6096000"/>
              <a:gd name="connsiteY1" fmla="*/ 0 h 3429000"/>
              <a:gd name="connsiteX2" fmla="*/ 6096000 w 6096000"/>
              <a:gd name="connsiteY2" fmla="*/ 3429000 h 3429000"/>
              <a:gd name="connsiteX3" fmla="*/ 0 w 6096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6096000" h="3429000">
                <a:moveTo>
                  <a:pt x="0" y="0"/>
                </a:moveTo>
                <a:lnTo>
                  <a:pt x="6096000" y="0"/>
                </a:lnTo>
                <a:lnTo>
                  <a:pt x="6096000" y="3429000"/>
                </a:lnTo>
                <a:lnTo>
                  <a:pt x="0" y="3429000"/>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049138" name="Picture Placeholder 10"/>
          <p:cNvSpPr>
            <a:spLocks noGrp="1"/>
          </p:cNvSpPr>
          <p:nvPr>
            <p:ph type="pic" sz="quarter" idx="10"/>
          </p:nvPr>
        </p:nvSpPr>
        <p:spPr>
          <a:xfrm>
            <a:off x="3933371" y="3556000"/>
            <a:ext cx="2975429" cy="2975429"/>
          </a:xfrm>
          <a:custGeom>
            <a:avLst/>
            <a:gdLst>
              <a:gd name="connsiteX0" fmla="*/ 0 w 2975429"/>
              <a:gd name="connsiteY0" fmla="*/ 0 h 2975429"/>
              <a:gd name="connsiteX1" fmla="*/ 2975429 w 2975429"/>
              <a:gd name="connsiteY1" fmla="*/ 0 h 2975429"/>
              <a:gd name="connsiteX2" fmla="*/ 2975429 w 2975429"/>
              <a:gd name="connsiteY2" fmla="*/ 2975429 h 2975429"/>
              <a:gd name="connsiteX3" fmla="*/ 0 w 2975429"/>
              <a:gd name="connsiteY3" fmla="*/ 2975429 h 2975429"/>
            </a:gdLst>
            <a:ahLst/>
            <a:cxnLst>
              <a:cxn ang="0">
                <a:pos x="connsiteX0" y="connsiteY0"/>
              </a:cxn>
              <a:cxn ang="0">
                <a:pos x="connsiteX1" y="connsiteY1"/>
              </a:cxn>
              <a:cxn ang="0">
                <a:pos x="connsiteX2" y="connsiteY2"/>
              </a:cxn>
              <a:cxn ang="0">
                <a:pos x="connsiteX3" y="connsiteY3"/>
              </a:cxn>
            </a:cxnLst>
            <a:rect l="l" t="t" r="r" b="b"/>
            <a:pathLst>
              <a:path w="2975429" h="2975429">
                <a:moveTo>
                  <a:pt x="0" y="0"/>
                </a:moveTo>
                <a:lnTo>
                  <a:pt x="2975429" y="0"/>
                </a:lnTo>
                <a:lnTo>
                  <a:pt x="2975429" y="2975429"/>
                </a:lnTo>
                <a:lnTo>
                  <a:pt x="0" y="297542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39" name="Picture Placeholder 9"/>
          <p:cNvSpPr>
            <a:spLocks noGrp="1"/>
          </p:cNvSpPr>
          <p:nvPr>
            <p:ph type="pic" sz="quarter" idx="11"/>
          </p:nvPr>
        </p:nvSpPr>
        <p:spPr>
          <a:xfrm>
            <a:off x="3933371" y="304800"/>
            <a:ext cx="2975429" cy="2975429"/>
          </a:xfrm>
          <a:custGeom>
            <a:avLst/>
            <a:gdLst>
              <a:gd name="connsiteX0" fmla="*/ 0 w 2975429"/>
              <a:gd name="connsiteY0" fmla="*/ 0 h 2975429"/>
              <a:gd name="connsiteX1" fmla="*/ 2975429 w 2975429"/>
              <a:gd name="connsiteY1" fmla="*/ 0 h 2975429"/>
              <a:gd name="connsiteX2" fmla="*/ 2975429 w 2975429"/>
              <a:gd name="connsiteY2" fmla="*/ 2975429 h 2975429"/>
              <a:gd name="connsiteX3" fmla="*/ 0 w 2975429"/>
              <a:gd name="connsiteY3" fmla="*/ 2975429 h 2975429"/>
            </a:gdLst>
            <a:ahLst/>
            <a:cxnLst>
              <a:cxn ang="0">
                <a:pos x="connsiteX0" y="connsiteY0"/>
              </a:cxn>
              <a:cxn ang="0">
                <a:pos x="connsiteX1" y="connsiteY1"/>
              </a:cxn>
              <a:cxn ang="0">
                <a:pos x="connsiteX2" y="connsiteY2"/>
              </a:cxn>
              <a:cxn ang="0">
                <a:pos x="connsiteX3" y="connsiteY3"/>
              </a:cxn>
            </a:cxnLst>
            <a:rect l="l" t="t" r="r" b="b"/>
            <a:pathLst>
              <a:path w="2975429" h="2975429">
                <a:moveTo>
                  <a:pt x="0" y="0"/>
                </a:moveTo>
                <a:lnTo>
                  <a:pt x="2975429" y="0"/>
                </a:lnTo>
                <a:lnTo>
                  <a:pt x="2975429" y="2975429"/>
                </a:lnTo>
                <a:lnTo>
                  <a:pt x="0" y="297542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1049154" name="Rectangle 5"/>
          <p:cNvSpPr/>
          <p:nvPr userDrawn="1"/>
        </p:nvSpPr>
        <p:spPr>
          <a:xfrm>
            <a:off x="0" y="0"/>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55" name="Picture Placeholder 20"/>
          <p:cNvSpPr>
            <a:spLocks noGrp="1"/>
          </p:cNvSpPr>
          <p:nvPr>
            <p:ph type="pic" sz="quarter" idx="14"/>
          </p:nvPr>
        </p:nvSpPr>
        <p:spPr>
          <a:xfrm>
            <a:off x="252186" y="217715"/>
            <a:ext cx="11687629" cy="3211286"/>
          </a:xfrm>
          <a:custGeom>
            <a:avLst/>
            <a:gdLst>
              <a:gd name="connsiteX0" fmla="*/ 0 w 11687629"/>
              <a:gd name="connsiteY0" fmla="*/ 0 h 3211286"/>
              <a:gd name="connsiteX1" fmla="*/ 11687629 w 11687629"/>
              <a:gd name="connsiteY1" fmla="*/ 0 h 3211286"/>
              <a:gd name="connsiteX2" fmla="*/ 11687629 w 11687629"/>
              <a:gd name="connsiteY2" fmla="*/ 3211286 h 3211286"/>
              <a:gd name="connsiteX3" fmla="*/ 0 w 11687629"/>
              <a:gd name="connsiteY3" fmla="*/ 3211286 h 3211286"/>
            </a:gdLst>
            <a:ahLst/>
            <a:cxnLst>
              <a:cxn ang="0">
                <a:pos x="connsiteX0" y="connsiteY0"/>
              </a:cxn>
              <a:cxn ang="0">
                <a:pos x="connsiteX1" y="connsiteY1"/>
              </a:cxn>
              <a:cxn ang="0">
                <a:pos x="connsiteX2" y="connsiteY2"/>
              </a:cxn>
              <a:cxn ang="0">
                <a:pos x="connsiteX3" y="connsiteY3"/>
              </a:cxn>
            </a:cxnLst>
            <a:rect l="l" t="t" r="r" b="b"/>
            <a:pathLst>
              <a:path w="11687629" h="3211286">
                <a:moveTo>
                  <a:pt x="0" y="0"/>
                </a:moveTo>
                <a:lnTo>
                  <a:pt x="11687629" y="0"/>
                </a:lnTo>
                <a:lnTo>
                  <a:pt x="11687629" y="3211286"/>
                </a:lnTo>
                <a:lnTo>
                  <a:pt x="0" y="3211286"/>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56" name="Picture Placeholder 14"/>
          <p:cNvSpPr>
            <a:spLocks noGrp="1"/>
          </p:cNvSpPr>
          <p:nvPr>
            <p:ph type="pic" sz="quarter" idx="11"/>
          </p:nvPr>
        </p:nvSpPr>
        <p:spPr>
          <a:xfrm>
            <a:off x="1876551" y="2029096"/>
            <a:ext cx="2307000" cy="2394857"/>
          </a:xfrm>
          <a:custGeom>
            <a:avLst/>
            <a:gdLst>
              <a:gd name="connsiteX0" fmla="*/ 0 w 2307000"/>
              <a:gd name="connsiteY0" fmla="*/ 0 h 2394857"/>
              <a:gd name="connsiteX1" fmla="*/ 2307000 w 2307000"/>
              <a:gd name="connsiteY1" fmla="*/ 0 h 2394857"/>
              <a:gd name="connsiteX2" fmla="*/ 2307000 w 2307000"/>
              <a:gd name="connsiteY2" fmla="*/ 2394857 h 2394857"/>
              <a:gd name="connsiteX3" fmla="*/ 0 w 2307000"/>
              <a:gd name="connsiteY3" fmla="*/ 2394857 h 2394857"/>
            </a:gdLst>
            <a:ahLst/>
            <a:cxnLst>
              <a:cxn ang="0">
                <a:pos x="connsiteX0" y="connsiteY0"/>
              </a:cxn>
              <a:cxn ang="0">
                <a:pos x="connsiteX1" y="connsiteY1"/>
              </a:cxn>
              <a:cxn ang="0">
                <a:pos x="connsiteX2" y="connsiteY2"/>
              </a:cxn>
              <a:cxn ang="0">
                <a:pos x="connsiteX3" y="connsiteY3"/>
              </a:cxn>
            </a:cxnLst>
            <a:rect l="l" t="t" r="r" b="b"/>
            <a:pathLst>
              <a:path w="2307000" h="2394857">
                <a:moveTo>
                  <a:pt x="0" y="0"/>
                </a:moveTo>
                <a:lnTo>
                  <a:pt x="2307000" y="0"/>
                </a:lnTo>
                <a:lnTo>
                  <a:pt x="2307000" y="2394857"/>
                </a:lnTo>
                <a:lnTo>
                  <a:pt x="0" y="2394857"/>
                </a:lnTo>
                <a:close/>
              </a:path>
            </a:pathLst>
          </a:custGeom>
          <a:pattFill prst="solidDmnd">
            <a:fgClr>
              <a:schemeClr val="bg1">
                <a:lumMod val="85000"/>
              </a:schemeClr>
            </a:fgClr>
            <a:bgClr>
              <a:schemeClr val="bg1"/>
            </a:bgClr>
          </a:pattFill>
          <a:ln w="28575">
            <a:solidFill>
              <a:srgbClr val="0087FA"/>
            </a:soli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57" name="Picture Placeholder 16"/>
          <p:cNvSpPr>
            <a:spLocks noGrp="1"/>
          </p:cNvSpPr>
          <p:nvPr>
            <p:ph type="pic" sz="quarter" idx="12"/>
          </p:nvPr>
        </p:nvSpPr>
        <p:spPr>
          <a:xfrm>
            <a:off x="4942500" y="2029096"/>
            <a:ext cx="2307000" cy="2394857"/>
          </a:xfrm>
          <a:custGeom>
            <a:avLst/>
            <a:gdLst>
              <a:gd name="connsiteX0" fmla="*/ 0 w 2307000"/>
              <a:gd name="connsiteY0" fmla="*/ 0 h 2394857"/>
              <a:gd name="connsiteX1" fmla="*/ 2307000 w 2307000"/>
              <a:gd name="connsiteY1" fmla="*/ 0 h 2394857"/>
              <a:gd name="connsiteX2" fmla="*/ 2307000 w 2307000"/>
              <a:gd name="connsiteY2" fmla="*/ 2394857 h 2394857"/>
              <a:gd name="connsiteX3" fmla="*/ 0 w 2307000"/>
              <a:gd name="connsiteY3" fmla="*/ 2394857 h 2394857"/>
            </a:gdLst>
            <a:ahLst/>
            <a:cxnLst>
              <a:cxn ang="0">
                <a:pos x="connsiteX0" y="connsiteY0"/>
              </a:cxn>
              <a:cxn ang="0">
                <a:pos x="connsiteX1" y="connsiteY1"/>
              </a:cxn>
              <a:cxn ang="0">
                <a:pos x="connsiteX2" y="connsiteY2"/>
              </a:cxn>
              <a:cxn ang="0">
                <a:pos x="connsiteX3" y="connsiteY3"/>
              </a:cxn>
            </a:cxnLst>
            <a:rect l="l" t="t" r="r" b="b"/>
            <a:pathLst>
              <a:path w="2307000" h="2394857">
                <a:moveTo>
                  <a:pt x="0" y="0"/>
                </a:moveTo>
                <a:lnTo>
                  <a:pt x="2307000" y="0"/>
                </a:lnTo>
                <a:lnTo>
                  <a:pt x="2307000" y="2394857"/>
                </a:lnTo>
                <a:lnTo>
                  <a:pt x="0" y="2394857"/>
                </a:lnTo>
                <a:close/>
              </a:path>
            </a:pathLst>
          </a:custGeom>
          <a:pattFill prst="solidDmnd">
            <a:fgClr>
              <a:schemeClr val="bg1">
                <a:lumMod val="85000"/>
              </a:schemeClr>
            </a:fgClr>
            <a:bgClr>
              <a:schemeClr val="bg1"/>
            </a:bgClr>
          </a:pattFill>
          <a:ln w="28575">
            <a:solidFill>
              <a:srgbClr val="0087FA"/>
            </a:soli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58" name="Picture Placeholder 18"/>
          <p:cNvSpPr>
            <a:spLocks noGrp="1"/>
          </p:cNvSpPr>
          <p:nvPr>
            <p:ph type="pic" sz="quarter" idx="13"/>
          </p:nvPr>
        </p:nvSpPr>
        <p:spPr>
          <a:xfrm>
            <a:off x="8008449" y="2029095"/>
            <a:ext cx="2307000" cy="2394857"/>
          </a:xfrm>
          <a:custGeom>
            <a:avLst/>
            <a:gdLst>
              <a:gd name="connsiteX0" fmla="*/ 0 w 2307000"/>
              <a:gd name="connsiteY0" fmla="*/ 0 h 2394857"/>
              <a:gd name="connsiteX1" fmla="*/ 2307000 w 2307000"/>
              <a:gd name="connsiteY1" fmla="*/ 0 h 2394857"/>
              <a:gd name="connsiteX2" fmla="*/ 2307000 w 2307000"/>
              <a:gd name="connsiteY2" fmla="*/ 2394857 h 2394857"/>
              <a:gd name="connsiteX3" fmla="*/ 0 w 2307000"/>
              <a:gd name="connsiteY3" fmla="*/ 2394857 h 2394857"/>
            </a:gdLst>
            <a:ahLst/>
            <a:cxnLst>
              <a:cxn ang="0">
                <a:pos x="connsiteX0" y="connsiteY0"/>
              </a:cxn>
              <a:cxn ang="0">
                <a:pos x="connsiteX1" y="connsiteY1"/>
              </a:cxn>
              <a:cxn ang="0">
                <a:pos x="connsiteX2" y="connsiteY2"/>
              </a:cxn>
              <a:cxn ang="0">
                <a:pos x="connsiteX3" y="connsiteY3"/>
              </a:cxn>
            </a:cxnLst>
            <a:rect l="l" t="t" r="r" b="b"/>
            <a:pathLst>
              <a:path w="2307000" h="2394857">
                <a:moveTo>
                  <a:pt x="0" y="0"/>
                </a:moveTo>
                <a:lnTo>
                  <a:pt x="2307000" y="0"/>
                </a:lnTo>
                <a:lnTo>
                  <a:pt x="2307000" y="2394857"/>
                </a:lnTo>
                <a:lnTo>
                  <a:pt x="0" y="2394857"/>
                </a:lnTo>
                <a:close/>
              </a:path>
            </a:pathLst>
          </a:custGeom>
          <a:pattFill prst="solidDmnd">
            <a:fgClr>
              <a:schemeClr val="bg1">
                <a:lumMod val="85000"/>
              </a:schemeClr>
            </a:fgClr>
            <a:bgClr>
              <a:schemeClr val="bg1"/>
            </a:bgClr>
          </a:pattFill>
          <a:ln w="28575">
            <a:solidFill>
              <a:srgbClr val="0087FA"/>
            </a:soli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59" name="Rectangle 6"/>
          <p:cNvSpPr/>
          <p:nvPr userDrawn="1"/>
        </p:nvSpPr>
        <p:spPr>
          <a:xfrm>
            <a:off x="0" y="6784848"/>
            <a:ext cx="12192000" cy="73152"/>
          </a:xfrm>
          <a:prstGeom prst="rect">
            <a:avLst/>
          </a:prstGeom>
          <a:solidFill>
            <a:srgbClr val="0087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49183" name="Title 1"/>
          <p:cNvSpPr>
            <a:spLocks noGrp="1"/>
          </p:cNvSpPr>
          <p:nvPr>
            <p:ph type="title"/>
          </p:nvPr>
        </p:nvSpPr>
        <p:spPr/>
        <p:txBody>
          <a:bodyPr/>
          <a:lstStyle/>
          <a:p>
            <a:r>
              <a:rPr lang="en-US"/>
              <a:t>Click to edit Master title style</a:t>
            </a:r>
          </a:p>
        </p:txBody>
      </p:sp>
      <p:sp>
        <p:nvSpPr>
          <p:cNvPr id="1049184"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185"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186" name="Date Placeholder 4"/>
          <p:cNvSpPr>
            <a:spLocks noGrp="1"/>
          </p:cNvSpPr>
          <p:nvPr>
            <p:ph type="dt" sz="half" idx="10"/>
          </p:nvPr>
        </p:nvSpPr>
        <p:spPr/>
        <p:txBody>
          <a:bodyPr/>
          <a:lstStyle/>
          <a:p>
            <a:fld id="{E678B23A-0579-4A25-9F8C-78E5A3656303}" type="datetimeFigureOut">
              <a:rPr lang="en-US" smtClean="0"/>
              <a:t>3/13/2023</a:t>
            </a:fld>
            <a:endParaRPr lang="en-US"/>
          </a:p>
        </p:txBody>
      </p:sp>
      <p:sp>
        <p:nvSpPr>
          <p:cNvPr id="1049187" name="Footer Placeholder 5"/>
          <p:cNvSpPr>
            <a:spLocks noGrp="1"/>
          </p:cNvSpPr>
          <p:nvPr>
            <p:ph type="ftr" sz="quarter" idx="11"/>
          </p:nvPr>
        </p:nvSpPr>
        <p:spPr/>
        <p:txBody>
          <a:bodyPr/>
          <a:lstStyle/>
          <a:p>
            <a:endParaRPr lang="en-US"/>
          </a:p>
        </p:txBody>
      </p:sp>
      <p:sp>
        <p:nvSpPr>
          <p:cNvPr id="1049188" name="Slide Number Placeholder 6"/>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1049112" name="Rectangle 5"/>
          <p:cNvSpPr/>
          <p:nvPr userDrawn="1"/>
        </p:nvSpPr>
        <p:spPr>
          <a:xfrm>
            <a:off x="0" y="0"/>
            <a:ext cx="12192000" cy="3429000"/>
          </a:xfrm>
          <a:prstGeom prst="rect">
            <a:avLst/>
          </a:prstGeom>
          <a:solidFill>
            <a:srgbClr val="5377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13" name="Picture Placeholder 20"/>
          <p:cNvSpPr>
            <a:spLocks noGrp="1"/>
          </p:cNvSpPr>
          <p:nvPr>
            <p:ph type="pic" sz="quarter" idx="14"/>
          </p:nvPr>
        </p:nvSpPr>
        <p:spPr>
          <a:xfrm>
            <a:off x="252186" y="217715"/>
            <a:ext cx="11687629" cy="3211286"/>
          </a:xfrm>
          <a:custGeom>
            <a:avLst/>
            <a:gdLst>
              <a:gd name="connsiteX0" fmla="*/ 0 w 11687629"/>
              <a:gd name="connsiteY0" fmla="*/ 0 h 3211286"/>
              <a:gd name="connsiteX1" fmla="*/ 11687629 w 11687629"/>
              <a:gd name="connsiteY1" fmla="*/ 0 h 3211286"/>
              <a:gd name="connsiteX2" fmla="*/ 11687629 w 11687629"/>
              <a:gd name="connsiteY2" fmla="*/ 3211286 h 3211286"/>
              <a:gd name="connsiteX3" fmla="*/ 0 w 11687629"/>
              <a:gd name="connsiteY3" fmla="*/ 3211286 h 3211286"/>
            </a:gdLst>
            <a:ahLst/>
            <a:cxnLst>
              <a:cxn ang="0">
                <a:pos x="connsiteX0" y="connsiteY0"/>
              </a:cxn>
              <a:cxn ang="0">
                <a:pos x="connsiteX1" y="connsiteY1"/>
              </a:cxn>
              <a:cxn ang="0">
                <a:pos x="connsiteX2" y="connsiteY2"/>
              </a:cxn>
              <a:cxn ang="0">
                <a:pos x="connsiteX3" y="connsiteY3"/>
              </a:cxn>
            </a:cxnLst>
            <a:rect l="l" t="t" r="r" b="b"/>
            <a:pathLst>
              <a:path w="11687629" h="3211286">
                <a:moveTo>
                  <a:pt x="0" y="0"/>
                </a:moveTo>
                <a:lnTo>
                  <a:pt x="11687629" y="0"/>
                </a:lnTo>
                <a:lnTo>
                  <a:pt x="11687629" y="3211286"/>
                </a:lnTo>
                <a:lnTo>
                  <a:pt x="0" y="3211286"/>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14" name="Picture Placeholder 12"/>
          <p:cNvSpPr>
            <a:spLocks noGrp="1"/>
          </p:cNvSpPr>
          <p:nvPr>
            <p:ph type="pic" sz="quarter" idx="10"/>
          </p:nvPr>
        </p:nvSpPr>
        <p:spPr>
          <a:xfrm>
            <a:off x="1117600" y="2081350"/>
            <a:ext cx="2377440" cy="2377440"/>
          </a:xfrm>
          <a:custGeom>
            <a:avLst/>
            <a:gdLst>
              <a:gd name="connsiteX0" fmla="*/ 0 w 2307000"/>
              <a:gd name="connsiteY0" fmla="*/ 0 h 2394857"/>
              <a:gd name="connsiteX1" fmla="*/ 2307000 w 2307000"/>
              <a:gd name="connsiteY1" fmla="*/ 0 h 2394857"/>
              <a:gd name="connsiteX2" fmla="*/ 2307000 w 2307000"/>
              <a:gd name="connsiteY2" fmla="*/ 2394857 h 2394857"/>
              <a:gd name="connsiteX3" fmla="*/ 0 w 2307000"/>
              <a:gd name="connsiteY3" fmla="*/ 2394857 h 2394857"/>
            </a:gdLst>
            <a:ahLst/>
            <a:cxnLst>
              <a:cxn ang="0">
                <a:pos x="connsiteX0" y="connsiteY0"/>
              </a:cxn>
              <a:cxn ang="0">
                <a:pos x="connsiteX1" y="connsiteY1"/>
              </a:cxn>
              <a:cxn ang="0">
                <a:pos x="connsiteX2" y="connsiteY2"/>
              </a:cxn>
              <a:cxn ang="0">
                <a:pos x="connsiteX3" y="connsiteY3"/>
              </a:cxn>
            </a:cxnLst>
            <a:rect l="l" t="t" r="r" b="b"/>
            <a:pathLst>
              <a:path w="2307000" h="2394857">
                <a:moveTo>
                  <a:pt x="0" y="0"/>
                </a:moveTo>
                <a:lnTo>
                  <a:pt x="2307000" y="0"/>
                </a:lnTo>
                <a:lnTo>
                  <a:pt x="2307000" y="2394857"/>
                </a:lnTo>
                <a:lnTo>
                  <a:pt x="0" y="2394857"/>
                </a:lnTo>
                <a:close/>
              </a:path>
            </a:pathLst>
          </a:custGeom>
          <a:pattFill prst="solidDmnd">
            <a:fgClr>
              <a:schemeClr val="bg1">
                <a:lumMod val="85000"/>
              </a:schemeClr>
            </a:fgClr>
            <a:bgClr>
              <a:schemeClr val="bg1"/>
            </a:bgClr>
          </a:pattFill>
          <a:ln w="31750">
            <a:gradFill>
              <a:gsLst>
                <a:gs pos="0">
                  <a:srgbClr val="BDD598"/>
                </a:gs>
                <a:gs pos="100000">
                  <a:srgbClr val="537717"/>
                </a:gs>
              </a:gsLst>
              <a:lin ang="5400000" scaled="1"/>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15" name="Picture Placeholder 14"/>
          <p:cNvSpPr>
            <a:spLocks noGrp="1"/>
          </p:cNvSpPr>
          <p:nvPr>
            <p:ph type="pic" sz="quarter" idx="11"/>
          </p:nvPr>
        </p:nvSpPr>
        <p:spPr>
          <a:xfrm>
            <a:off x="3667533" y="2081350"/>
            <a:ext cx="2377440" cy="2377440"/>
          </a:xfrm>
          <a:custGeom>
            <a:avLst/>
            <a:gdLst>
              <a:gd name="connsiteX0" fmla="*/ 0 w 2307000"/>
              <a:gd name="connsiteY0" fmla="*/ 0 h 2394857"/>
              <a:gd name="connsiteX1" fmla="*/ 2307000 w 2307000"/>
              <a:gd name="connsiteY1" fmla="*/ 0 h 2394857"/>
              <a:gd name="connsiteX2" fmla="*/ 2307000 w 2307000"/>
              <a:gd name="connsiteY2" fmla="*/ 2394857 h 2394857"/>
              <a:gd name="connsiteX3" fmla="*/ 0 w 2307000"/>
              <a:gd name="connsiteY3" fmla="*/ 2394857 h 2394857"/>
            </a:gdLst>
            <a:ahLst/>
            <a:cxnLst>
              <a:cxn ang="0">
                <a:pos x="connsiteX0" y="connsiteY0"/>
              </a:cxn>
              <a:cxn ang="0">
                <a:pos x="connsiteX1" y="connsiteY1"/>
              </a:cxn>
              <a:cxn ang="0">
                <a:pos x="connsiteX2" y="connsiteY2"/>
              </a:cxn>
              <a:cxn ang="0">
                <a:pos x="connsiteX3" y="connsiteY3"/>
              </a:cxn>
            </a:cxnLst>
            <a:rect l="l" t="t" r="r" b="b"/>
            <a:pathLst>
              <a:path w="2307000" h="2394857">
                <a:moveTo>
                  <a:pt x="0" y="0"/>
                </a:moveTo>
                <a:lnTo>
                  <a:pt x="2307000" y="0"/>
                </a:lnTo>
                <a:lnTo>
                  <a:pt x="2307000" y="2394857"/>
                </a:lnTo>
                <a:lnTo>
                  <a:pt x="0" y="2394857"/>
                </a:lnTo>
                <a:close/>
              </a:path>
            </a:pathLst>
          </a:custGeom>
          <a:pattFill prst="solidDmnd">
            <a:fgClr>
              <a:schemeClr val="bg1">
                <a:lumMod val="85000"/>
              </a:schemeClr>
            </a:fgClr>
            <a:bgClr>
              <a:schemeClr val="bg1"/>
            </a:bgClr>
          </a:pattFill>
          <a:ln w="31750">
            <a:gradFill>
              <a:gsLst>
                <a:gs pos="0">
                  <a:srgbClr val="BDD598"/>
                </a:gs>
                <a:gs pos="100000">
                  <a:srgbClr val="537717"/>
                </a:gs>
              </a:gsLst>
              <a:lin ang="5400000" scaled="1"/>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16" name="Picture Placeholder 16"/>
          <p:cNvSpPr>
            <a:spLocks noGrp="1"/>
          </p:cNvSpPr>
          <p:nvPr>
            <p:ph type="pic" sz="quarter" idx="12"/>
          </p:nvPr>
        </p:nvSpPr>
        <p:spPr>
          <a:xfrm>
            <a:off x="6217466" y="2081350"/>
            <a:ext cx="2377440" cy="2377440"/>
          </a:xfrm>
          <a:custGeom>
            <a:avLst/>
            <a:gdLst>
              <a:gd name="connsiteX0" fmla="*/ 0 w 2307000"/>
              <a:gd name="connsiteY0" fmla="*/ 0 h 2394857"/>
              <a:gd name="connsiteX1" fmla="*/ 2307000 w 2307000"/>
              <a:gd name="connsiteY1" fmla="*/ 0 h 2394857"/>
              <a:gd name="connsiteX2" fmla="*/ 2307000 w 2307000"/>
              <a:gd name="connsiteY2" fmla="*/ 2394857 h 2394857"/>
              <a:gd name="connsiteX3" fmla="*/ 0 w 2307000"/>
              <a:gd name="connsiteY3" fmla="*/ 2394857 h 2394857"/>
            </a:gdLst>
            <a:ahLst/>
            <a:cxnLst>
              <a:cxn ang="0">
                <a:pos x="connsiteX0" y="connsiteY0"/>
              </a:cxn>
              <a:cxn ang="0">
                <a:pos x="connsiteX1" y="connsiteY1"/>
              </a:cxn>
              <a:cxn ang="0">
                <a:pos x="connsiteX2" y="connsiteY2"/>
              </a:cxn>
              <a:cxn ang="0">
                <a:pos x="connsiteX3" y="connsiteY3"/>
              </a:cxn>
            </a:cxnLst>
            <a:rect l="l" t="t" r="r" b="b"/>
            <a:pathLst>
              <a:path w="2307000" h="2394857">
                <a:moveTo>
                  <a:pt x="0" y="0"/>
                </a:moveTo>
                <a:lnTo>
                  <a:pt x="2307000" y="0"/>
                </a:lnTo>
                <a:lnTo>
                  <a:pt x="2307000" y="2394857"/>
                </a:lnTo>
                <a:lnTo>
                  <a:pt x="0" y="2394857"/>
                </a:lnTo>
                <a:close/>
              </a:path>
            </a:pathLst>
          </a:custGeom>
          <a:pattFill prst="solidDmnd">
            <a:fgClr>
              <a:schemeClr val="bg1">
                <a:lumMod val="85000"/>
              </a:schemeClr>
            </a:fgClr>
            <a:bgClr>
              <a:schemeClr val="bg1"/>
            </a:bgClr>
          </a:pattFill>
          <a:ln w="31750">
            <a:gradFill>
              <a:gsLst>
                <a:gs pos="0">
                  <a:srgbClr val="BDD598"/>
                </a:gs>
                <a:gs pos="100000">
                  <a:srgbClr val="537717"/>
                </a:gs>
              </a:gsLst>
              <a:lin ang="5400000" scaled="1"/>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17" name="Picture Placeholder 18"/>
          <p:cNvSpPr>
            <a:spLocks noGrp="1"/>
          </p:cNvSpPr>
          <p:nvPr>
            <p:ph type="pic" sz="quarter" idx="13"/>
          </p:nvPr>
        </p:nvSpPr>
        <p:spPr>
          <a:xfrm>
            <a:off x="8767399" y="2081350"/>
            <a:ext cx="2377440" cy="2377440"/>
          </a:xfrm>
          <a:custGeom>
            <a:avLst/>
            <a:gdLst>
              <a:gd name="connsiteX0" fmla="*/ 0 w 2307000"/>
              <a:gd name="connsiteY0" fmla="*/ 0 h 2394857"/>
              <a:gd name="connsiteX1" fmla="*/ 2307000 w 2307000"/>
              <a:gd name="connsiteY1" fmla="*/ 0 h 2394857"/>
              <a:gd name="connsiteX2" fmla="*/ 2307000 w 2307000"/>
              <a:gd name="connsiteY2" fmla="*/ 2394857 h 2394857"/>
              <a:gd name="connsiteX3" fmla="*/ 0 w 2307000"/>
              <a:gd name="connsiteY3" fmla="*/ 2394857 h 2394857"/>
            </a:gdLst>
            <a:ahLst/>
            <a:cxnLst>
              <a:cxn ang="0">
                <a:pos x="connsiteX0" y="connsiteY0"/>
              </a:cxn>
              <a:cxn ang="0">
                <a:pos x="connsiteX1" y="connsiteY1"/>
              </a:cxn>
              <a:cxn ang="0">
                <a:pos x="connsiteX2" y="connsiteY2"/>
              </a:cxn>
              <a:cxn ang="0">
                <a:pos x="connsiteX3" y="connsiteY3"/>
              </a:cxn>
            </a:cxnLst>
            <a:rect l="l" t="t" r="r" b="b"/>
            <a:pathLst>
              <a:path w="2307000" h="2394857">
                <a:moveTo>
                  <a:pt x="0" y="0"/>
                </a:moveTo>
                <a:lnTo>
                  <a:pt x="2307000" y="0"/>
                </a:lnTo>
                <a:lnTo>
                  <a:pt x="2307000" y="2394857"/>
                </a:lnTo>
                <a:lnTo>
                  <a:pt x="0" y="2394857"/>
                </a:lnTo>
                <a:close/>
              </a:path>
            </a:pathLst>
          </a:custGeom>
          <a:pattFill prst="solidDmnd">
            <a:fgClr>
              <a:schemeClr val="bg1">
                <a:lumMod val="85000"/>
              </a:schemeClr>
            </a:fgClr>
            <a:bgClr>
              <a:schemeClr val="bg1"/>
            </a:bgClr>
          </a:pattFill>
          <a:ln w="31750">
            <a:gradFill>
              <a:gsLst>
                <a:gs pos="0">
                  <a:srgbClr val="BDD598"/>
                </a:gs>
                <a:gs pos="100000">
                  <a:srgbClr val="537717"/>
                </a:gs>
              </a:gsLst>
              <a:lin ang="5400000" scaled="1"/>
            </a:gradFill>
          </a:ln>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18" name="Rectangle 10"/>
          <p:cNvSpPr/>
          <p:nvPr userDrawn="1"/>
        </p:nvSpPr>
        <p:spPr>
          <a:xfrm>
            <a:off x="0" y="6784848"/>
            <a:ext cx="12192000" cy="73152"/>
          </a:xfrm>
          <a:prstGeom prst="rect">
            <a:avLst/>
          </a:prstGeom>
          <a:gradFill>
            <a:gsLst>
              <a:gs pos="0">
                <a:srgbClr val="BDD598"/>
              </a:gs>
              <a:gs pos="100000">
                <a:srgbClr val="537717"/>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1049053" name="Rectangle 5"/>
          <p:cNvSpPr/>
          <p:nvPr userDrawn="1"/>
        </p:nvSpPr>
        <p:spPr>
          <a:xfrm>
            <a:off x="4719398" y="4764807"/>
            <a:ext cx="1540782" cy="1540782"/>
          </a:xfrm>
          <a:prstGeom prst="rect">
            <a:avLst/>
          </a:prstGeom>
          <a:gradFill>
            <a:gsLst>
              <a:gs pos="0">
                <a:srgbClr val="00B0F0"/>
              </a:gs>
              <a:gs pos="100000">
                <a:srgbClr val="00206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54" name="Rectangle 6"/>
          <p:cNvSpPr/>
          <p:nvPr userDrawn="1"/>
        </p:nvSpPr>
        <p:spPr>
          <a:xfrm>
            <a:off x="653610" y="552411"/>
            <a:ext cx="1540782" cy="1540782"/>
          </a:xfrm>
          <a:prstGeom prst="rect">
            <a:avLst/>
          </a:prstGeom>
          <a:gradFill>
            <a:gsLst>
              <a:gs pos="0">
                <a:srgbClr val="002060"/>
              </a:gs>
              <a:gs pos="100000">
                <a:srgbClr val="00B0F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55" name="Picture Placeholder 16"/>
          <p:cNvSpPr>
            <a:spLocks noGrp="1"/>
          </p:cNvSpPr>
          <p:nvPr>
            <p:ph type="pic" sz="quarter" idx="10"/>
          </p:nvPr>
        </p:nvSpPr>
        <p:spPr>
          <a:xfrm>
            <a:off x="861332" y="752476"/>
            <a:ext cx="2491702" cy="2576493"/>
          </a:xfrm>
          <a:custGeom>
            <a:avLst/>
            <a:gdLst>
              <a:gd name="connsiteX0" fmla="*/ 0 w 2491702"/>
              <a:gd name="connsiteY0" fmla="*/ 0 h 2576493"/>
              <a:gd name="connsiteX1" fmla="*/ 2491702 w 2491702"/>
              <a:gd name="connsiteY1" fmla="*/ 0 h 2576493"/>
              <a:gd name="connsiteX2" fmla="*/ 2491702 w 2491702"/>
              <a:gd name="connsiteY2" fmla="*/ 2576493 h 2576493"/>
              <a:gd name="connsiteX3" fmla="*/ 0 w 2491702"/>
              <a:gd name="connsiteY3" fmla="*/ 2576493 h 2576493"/>
            </a:gdLst>
            <a:ahLst/>
            <a:cxnLst>
              <a:cxn ang="0">
                <a:pos x="connsiteX0" y="connsiteY0"/>
              </a:cxn>
              <a:cxn ang="0">
                <a:pos x="connsiteX1" y="connsiteY1"/>
              </a:cxn>
              <a:cxn ang="0">
                <a:pos x="connsiteX2" y="connsiteY2"/>
              </a:cxn>
              <a:cxn ang="0">
                <a:pos x="connsiteX3" y="connsiteY3"/>
              </a:cxn>
            </a:cxnLst>
            <a:rect l="l" t="t" r="r" b="b"/>
            <a:pathLst>
              <a:path w="2491702" h="2576493">
                <a:moveTo>
                  <a:pt x="0" y="0"/>
                </a:moveTo>
                <a:lnTo>
                  <a:pt x="2491702" y="0"/>
                </a:lnTo>
                <a:lnTo>
                  <a:pt x="2491702" y="2576493"/>
                </a:lnTo>
                <a:lnTo>
                  <a:pt x="0" y="2576493"/>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56" name="Picture Placeholder 17"/>
          <p:cNvSpPr>
            <a:spLocks noGrp="1"/>
          </p:cNvSpPr>
          <p:nvPr>
            <p:ph type="pic" sz="quarter" idx="11"/>
          </p:nvPr>
        </p:nvSpPr>
        <p:spPr>
          <a:xfrm>
            <a:off x="861332" y="3529033"/>
            <a:ext cx="2491702" cy="2576493"/>
          </a:xfrm>
          <a:custGeom>
            <a:avLst/>
            <a:gdLst>
              <a:gd name="connsiteX0" fmla="*/ 0 w 2491702"/>
              <a:gd name="connsiteY0" fmla="*/ 0 h 2576493"/>
              <a:gd name="connsiteX1" fmla="*/ 2491702 w 2491702"/>
              <a:gd name="connsiteY1" fmla="*/ 0 h 2576493"/>
              <a:gd name="connsiteX2" fmla="*/ 2491702 w 2491702"/>
              <a:gd name="connsiteY2" fmla="*/ 2576493 h 2576493"/>
              <a:gd name="connsiteX3" fmla="*/ 0 w 2491702"/>
              <a:gd name="connsiteY3" fmla="*/ 2576493 h 2576493"/>
            </a:gdLst>
            <a:ahLst/>
            <a:cxnLst>
              <a:cxn ang="0">
                <a:pos x="connsiteX0" y="connsiteY0"/>
              </a:cxn>
              <a:cxn ang="0">
                <a:pos x="connsiteX1" y="connsiteY1"/>
              </a:cxn>
              <a:cxn ang="0">
                <a:pos x="connsiteX2" y="connsiteY2"/>
              </a:cxn>
              <a:cxn ang="0">
                <a:pos x="connsiteX3" y="connsiteY3"/>
              </a:cxn>
            </a:cxnLst>
            <a:rect l="l" t="t" r="r" b="b"/>
            <a:pathLst>
              <a:path w="2491702" h="2576493">
                <a:moveTo>
                  <a:pt x="0" y="0"/>
                </a:moveTo>
                <a:lnTo>
                  <a:pt x="2491702" y="0"/>
                </a:lnTo>
                <a:lnTo>
                  <a:pt x="2491702" y="2576493"/>
                </a:lnTo>
                <a:lnTo>
                  <a:pt x="0" y="2576493"/>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57" name="Picture Placeholder 15"/>
          <p:cNvSpPr>
            <a:spLocks noGrp="1"/>
          </p:cNvSpPr>
          <p:nvPr>
            <p:ph type="pic" sz="quarter" idx="12"/>
          </p:nvPr>
        </p:nvSpPr>
        <p:spPr>
          <a:xfrm>
            <a:off x="3560756" y="752476"/>
            <a:ext cx="2491702" cy="2576493"/>
          </a:xfrm>
          <a:custGeom>
            <a:avLst/>
            <a:gdLst>
              <a:gd name="connsiteX0" fmla="*/ 0 w 2491702"/>
              <a:gd name="connsiteY0" fmla="*/ 0 h 2576493"/>
              <a:gd name="connsiteX1" fmla="*/ 2491702 w 2491702"/>
              <a:gd name="connsiteY1" fmla="*/ 0 h 2576493"/>
              <a:gd name="connsiteX2" fmla="*/ 2491702 w 2491702"/>
              <a:gd name="connsiteY2" fmla="*/ 2576493 h 2576493"/>
              <a:gd name="connsiteX3" fmla="*/ 0 w 2491702"/>
              <a:gd name="connsiteY3" fmla="*/ 2576493 h 2576493"/>
            </a:gdLst>
            <a:ahLst/>
            <a:cxnLst>
              <a:cxn ang="0">
                <a:pos x="connsiteX0" y="connsiteY0"/>
              </a:cxn>
              <a:cxn ang="0">
                <a:pos x="connsiteX1" y="connsiteY1"/>
              </a:cxn>
              <a:cxn ang="0">
                <a:pos x="connsiteX2" y="connsiteY2"/>
              </a:cxn>
              <a:cxn ang="0">
                <a:pos x="connsiteX3" y="connsiteY3"/>
              </a:cxn>
            </a:cxnLst>
            <a:rect l="l" t="t" r="r" b="b"/>
            <a:pathLst>
              <a:path w="2491702" h="2576493">
                <a:moveTo>
                  <a:pt x="0" y="0"/>
                </a:moveTo>
                <a:lnTo>
                  <a:pt x="2491702" y="0"/>
                </a:lnTo>
                <a:lnTo>
                  <a:pt x="2491702" y="2576493"/>
                </a:lnTo>
                <a:lnTo>
                  <a:pt x="0" y="2576493"/>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58" name="Picture Placeholder 18"/>
          <p:cNvSpPr>
            <a:spLocks noGrp="1"/>
          </p:cNvSpPr>
          <p:nvPr>
            <p:ph type="pic" sz="quarter" idx="13"/>
          </p:nvPr>
        </p:nvSpPr>
        <p:spPr>
          <a:xfrm>
            <a:off x="3560756" y="3529033"/>
            <a:ext cx="2491702" cy="2576493"/>
          </a:xfrm>
          <a:custGeom>
            <a:avLst/>
            <a:gdLst>
              <a:gd name="connsiteX0" fmla="*/ 0 w 2491702"/>
              <a:gd name="connsiteY0" fmla="*/ 0 h 2576493"/>
              <a:gd name="connsiteX1" fmla="*/ 2491702 w 2491702"/>
              <a:gd name="connsiteY1" fmla="*/ 0 h 2576493"/>
              <a:gd name="connsiteX2" fmla="*/ 2491702 w 2491702"/>
              <a:gd name="connsiteY2" fmla="*/ 2576493 h 2576493"/>
              <a:gd name="connsiteX3" fmla="*/ 0 w 2491702"/>
              <a:gd name="connsiteY3" fmla="*/ 2576493 h 2576493"/>
            </a:gdLst>
            <a:ahLst/>
            <a:cxnLst>
              <a:cxn ang="0">
                <a:pos x="connsiteX0" y="connsiteY0"/>
              </a:cxn>
              <a:cxn ang="0">
                <a:pos x="connsiteX1" y="connsiteY1"/>
              </a:cxn>
              <a:cxn ang="0">
                <a:pos x="connsiteX2" y="connsiteY2"/>
              </a:cxn>
              <a:cxn ang="0">
                <a:pos x="connsiteX3" y="connsiteY3"/>
              </a:cxn>
            </a:cxnLst>
            <a:rect l="l" t="t" r="r" b="b"/>
            <a:pathLst>
              <a:path w="2491702" h="2576493">
                <a:moveTo>
                  <a:pt x="0" y="0"/>
                </a:moveTo>
                <a:lnTo>
                  <a:pt x="2491702" y="0"/>
                </a:lnTo>
                <a:lnTo>
                  <a:pt x="2491702" y="2576493"/>
                </a:lnTo>
                <a:lnTo>
                  <a:pt x="0" y="2576493"/>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59" name="Rectangle 7"/>
          <p:cNvSpPr/>
          <p:nvPr userDrawn="1"/>
        </p:nvSpPr>
        <p:spPr>
          <a:xfrm>
            <a:off x="0" y="6784848"/>
            <a:ext cx="12192000" cy="73152"/>
          </a:xfrm>
          <a:prstGeom prst="rect">
            <a:avLst/>
          </a:prstGeom>
          <a:gradFill>
            <a:gsLst>
              <a:gs pos="0">
                <a:srgbClr val="00B0F0"/>
              </a:gs>
              <a:gs pos="100000">
                <a:srgbClr val="002060"/>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1049074" name="Rectangle 5"/>
          <p:cNvSpPr/>
          <p:nvPr userDrawn="1"/>
        </p:nvSpPr>
        <p:spPr>
          <a:xfrm>
            <a:off x="228600" y="2877113"/>
            <a:ext cx="1156447" cy="11228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75" name="Rectangle 6"/>
          <p:cNvSpPr/>
          <p:nvPr userDrawn="1"/>
        </p:nvSpPr>
        <p:spPr>
          <a:xfrm>
            <a:off x="228600" y="5532349"/>
            <a:ext cx="1156447" cy="11228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76" name="Rectangle 7"/>
          <p:cNvSpPr/>
          <p:nvPr userDrawn="1"/>
        </p:nvSpPr>
        <p:spPr>
          <a:xfrm>
            <a:off x="228600" y="221878"/>
            <a:ext cx="1156447" cy="11228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77" name="Picture Placeholder 12"/>
          <p:cNvSpPr>
            <a:spLocks noGrp="1"/>
          </p:cNvSpPr>
          <p:nvPr>
            <p:ph type="pic" sz="quarter" idx="14"/>
          </p:nvPr>
        </p:nvSpPr>
        <p:spPr>
          <a:xfrm>
            <a:off x="396117" y="376519"/>
            <a:ext cx="4391036" cy="1938244"/>
          </a:xfrm>
          <a:custGeom>
            <a:avLst/>
            <a:gdLst>
              <a:gd name="connsiteX0" fmla="*/ 0 w 4391036"/>
              <a:gd name="connsiteY0" fmla="*/ 0 h 1938244"/>
              <a:gd name="connsiteX1" fmla="*/ 4391036 w 4391036"/>
              <a:gd name="connsiteY1" fmla="*/ 0 h 1938244"/>
              <a:gd name="connsiteX2" fmla="*/ 4391036 w 4391036"/>
              <a:gd name="connsiteY2" fmla="*/ 1938244 h 1938244"/>
              <a:gd name="connsiteX3" fmla="*/ 0 w 4391036"/>
              <a:gd name="connsiteY3" fmla="*/ 1938244 h 1938244"/>
            </a:gdLst>
            <a:ahLst/>
            <a:cxnLst>
              <a:cxn ang="0">
                <a:pos x="connsiteX0" y="connsiteY0"/>
              </a:cxn>
              <a:cxn ang="0">
                <a:pos x="connsiteX1" y="connsiteY1"/>
              </a:cxn>
              <a:cxn ang="0">
                <a:pos x="connsiteX2" y="connsiteY2"/>
              </a:cxn>
              <a:cxn ang="0">
                <a:pos x="connsiteX3" y="connsiteY3"/>
              </a:cxn>
            </a:cxnLst>
            <a:rect l="l" t="t" r="r" b="b"/>
            <a:pathLst>
              <a:path w="4391036" h="1938244">
                <a:moveTo>
                  <a:pt x="0" y="0"/>
                </a:moveTo>
                <a:lnTo>
                  <a:pt x="4391036" y="0"/>
                </a:lnTo>
                <a:lnTo>
                  <a:pt x="4391036" y="1938244"/>
                </a:lnTo>
                <a:lnTo>
                  <a:pt x="0" y="193824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78" name="Picture Placeholder 14"/>
          <p:cNvSpPr>
            <a:spLocks noGrp="1"/>
          </p:cNvSpPr>
          <p:nvPr>
            <p:ph type="pic" sz="quarter" idx="15"/>
          </p:nvPr>
        </p:nvSpPr>
        <p:spPr>
          <a:xfrm>
            <a:off x="396117" y="2469404"/>
            <a:ext cx="4391036" cy="1938244"/>
          </a:xfrm>
          <a:custGeom>
            <a:avLst/>
            <a:gdLst>
              <a:gd name="connsiteX0" fmla="*/ 0 w 4391036"/>
              <a:gd name="connsiteY0" fmla="*/ 0 h 1938244"/>
              <a:gd name="connsiteX1" fmla="*/ 4391036 w 4391036"/>
              <a:gd name="connsiteY1" fmla="*/ 0 h 1938244"/>
              <a:gd name="connsiteX2" fmla="*/ 4391036 w 4391036"/>
              <a:gd name="connsiteY2" fmla="*/ 1938244 h 1938244"/>
              <a:gd name="connsiteX3" fmla="*/ 0 w 4391036"/>
              <a:gd name="connsiteY3" fmla="*/ 1938244 h 1938244"/>
            </a:gdLst>
            <a:ahLst/>
            <a:cxnLst>
              <a:cxn ang="0">
                <a:pos x="connsiteX0" y="connsiteY0"/>
              </a:cxn>
              <a:cxn ang="0">
                <a:pos x="connsiteX1" y="connsiteY1"/>
              </a:cxn>
              <a:cxn ang="0">
                <a:pos x="connsiteX2" y="connsiteY2"/>
              </a:cxn>
              <a:cxn ang="0">
                <a:pos x="connsiteX3" y="connsiteY3"/>
              </a:cxn>
            </a:cxnLst>
            <a:rect l="l" t="t" r="r" b="b"/>
            <a:pathLst>
              <a:path w="4391036" h="1938244">
                <a:moveTo>
                  <a:pt x="0" y="0"/>
                </a:moveTo>
                <a:lnTo>
                  <a:pt x="4391036" y="0"/>
                </a:lnTo>
                <a:lnTo>
                  <a:pt x="4391036" y="1938244"/>
                </a:lnTo>
                <a:lnTo>
                  <a:pt x="0" y="193824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079" name="Picture Placeholder 16"/>
          <p:cNvSpPr>
            <a:spLocks noGrp="1"/>
          </p:cNvSpPr>
          <p:nvPr>
            <p:ph type="pic" sz="quarter" idx="16"/>
          </p:nvPr>
        </p:nvSpPr>
        <p:spPr>
          <a:xfrm>
            <a:off x="396117" y="4562290"/>
            <a:ext cx="4391036" cy="1938244"/>
          </a:xfrm>
          <a:custGeom>
            <a:avLst/>
            <a:gdLst>
              <a:gd name="connsiteX0" fmla="*/ 0 w 4391036"/>
              <a:gd name="connsiteY0" fmla="*/ 0 h 1938244"/>
              <a:gd name="connsiteX1" fmla="*/ 4391036 w 4391036"/>
              <a:gd name="connsiteY1" fmla="*/ 0 h 1938244"/>
              <a:gd name="connsiteX2" fmla="*/ 4391036 w 4391036"/>
              <a:gd name="connsiteY2" fmla="*/ 1938244 h 1938244"/>
              <a:gd name="connsiteX3" fmla="*/ 0 w 4391036"/>
              <a:gd name="connsiteY3" fmla="*/ 1938244 h 1938244"/>
            </a:gdLst>
            <a:ahLst/>
            <a:cxnLst>
              <a:cxn ang="0">
                <a:pos x="connsiteX0" y="connsiteY0"/>
              </a:cxn>
              <a:cxn ang="0">
                <a:pos x="connsiteX1" y="connsiteY1"/>
              </a:cxn>
              <a:cxn ang="0">
                <a:pos x="connsiteX2" y="connsiteY2"/>
              </a:cxn>
              <a:cxn ang="0">
                <a:pos x="connsiteX3" y="connsiteY3"/>
              </a:cxn>
            </a:cxnLst>
            <a:rect l="l" t="t" r="r" b="b"/>
            <a:pathLst>
              <a:path w="4391036" h="1938244">
                <a:moveTo>
                  <a:pt x="0" y="0"/>
                </a:moveTo>
                <a:lnTo>
                  <a:pt x="4391036" y="0"/>
                </a:lnTo>
                <a:lnTo>
                  <a:pt x="4391036" y="1938244"/>
                </a:lnTo>
                <a:lnTo>
                  <a:pt x="0" y="193824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049146" name="Picture Placeholder 8"/>
          <p:cNvSpPr>
            <a:spLocks noGrp="1"/>
          </p:cNvSpPr>
          <p:nvPr>
            <p:ph type="pic" sz="quarter" idx="14"/>
          </p:nvPr>
        </p:nvSpPr>
        <p:spPr>
          <a:xfrm>
            <a:off x="6096000" y="429985"/>
            <a:ext cx="2697654" cy="4271154"/>
          </a:xfrm>
          <a:custGeom>
            <a:avLst/>
            <a:gdLst>
              <a:gd name="connsiteX0" fmla="*/ 0 w 2697654"/>
              <a:gd name="connsiteY0" fmla="*/ 0 h 4271154"/>
              <a:gd name="connsiteX1" fmla="*/ 2697654 w 2697654"/>
              <a:gd name="connsiteY1" fmla="*/ 0 h 4271154"/>
              <a:gd name="connsiteX2" fmla="*/ 2697654 w 2697654"/>
              <a:gd name="connsiteY2" fmla="*/ 4271154 h 4271154"/>
              <a:gd name="connsiteX3" fmla="*/ 0 w 2697654"/>
              <a:gd name="connsiteY3" fmla="*/ 4271154 h 4271154"/>
            </a:gdLst>
            <a:ahLst/>
            <a:cxnLst>
              <a:cxn ang="0">
                <a:pos x="connsiteX0" y="connsiteY0"/>
              </a:cxn>
              <a:cxn ang="0">
                <a:pos x="connsiteX1" y="connsiteY1"/>
              </a:cxn>
              <a:cxn ang="0">
                <a:pos x="connsiteX2" y="connsiteY2"/>
              </a:cxn>
              <a:cxn ang="0">
                <a:pos x="connsiteX3" y="connsiteY3"/>
              </a:cxn>
            </a:cxnLst>
            <a:rect l="l" t="t" r="r" b="b"/>
            <a:pathLst>
              <a:path w="2697654" h="4271154">
                <a:moveTo>
                  <a:pt x="0" y="0"/>
                </a:moveTo>
                <a:lnTo>
                  <a:pt x="2697654" y="0"/>
                </a:lnTo>
                <a:lnTo>
                  <a:pt x="2697654" y="4271154"/>
                </a:lnTo>
                <a:lnTo>
                  <a:pt x="0" y="4271154"/>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47" name="Picture Placeholder 10"/>
          <p:cNvSpPr>
            <a:spLocks noGrp="1"/>
          </p:cNvSpPr>
          <p:nvPr>
            <p:ph type="pic" sz="quarter" idx="15"/>
          </p:nvPr>
        </p:nvSpPr>
        <p:spPr>
          <a:xfrm>
            <a:off x="8986346" y="429985"/>
            <a:ext cx="2697654" cy="5998029"/>
          </a:xfrm>
          <a:custGeom>
            <a:avLst/>
            <a:gdLst>
              <a:gd name="connsiteX0" fmla="*/ 0 w 2697654"/>
              <a:gd name="connsiteY0" fmla="*/ 0 h 5998029"/>
              <a:gd name="connsiteX1" fmla="*/ 2697654 w 2697654"/>
              <a:gd name="connsiteY1" fmla="*/ 0 h 5998029"/>
              <a:gd name="connsiteX2" fmla="*/ 2697654 w 2697654"/>
              <a:gd name="connsiteY2" fmla="*/ 5998029 h 5998029"/>
              <a:gd name="connsiteX3" fmla="*/ 0 w 2697654"/>
              <a:gd name="connsiteY3" fmla="*/ 5998029 h 5998029"/>
            </a:gdLst>
            <a:ahLst/>
            <a:cxnLst>
              <a:cxn ang="0">
                <a:pos x="connsiteX0" y="connsiteY0"/>
              </a:cxn>
              <a:cxn ang="0">
                <a:pos x="connsiteX1" y="connsiteY1"/>
              </a:cxn>
              <a:cxn ang="0">
                <a:pos x="connsiteX2" y="connsiteY2"/>
              </a:cxn>
              <a:cxn ang="0">
                <a:pos x="connsiteX3" y="connsiteY3"/>
              </a:cxn>
            </a:cxnLst>
            <a:rect l="l" t="t" r="r" b="b"/>
            <a:pathLst>
              <a:path w="2697654" h="5998029">
                <a:moveTo>
                  <a:pt x="0" y="0"/>
                </a:moveTo>
                <a:lnTo>
                  <a:pt x="2697654" y="0"/>
                </a:lnTo>
                <a:lnTo>
                  <a:pt x="2697654" y="5998029"/>
                </a:lnTo>
                <a:lnTo>
                  <a:pt x="0" y="5998029"/>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1049194" name="Rectangle 5"/>
          <p:cNvSpPr/>
          <p:nvPr userDrawn="1"/>
        </p:nvSpPr>
        <p:spPr>
          <a:xfrm>
            <a:off x="10665760" y="5395103"/>
            <a:ext cx="1223682" cy="12236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95" name="Rectangle 6"/>
          <p:cNvSpPr/>
          <p:nvPr userDrawn="1"/>
        </p:nvSpPr>
        <p:spPr>
          <a:xfrm>
            <a:off x="302558" y="242047"/>
            <a:ext cx="1223682" cy="12236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96" name="Picture Placeholder 10"/>
          <p:cNvSpPr>
            <a:spLocks noGrp="1"/>
          </p:cNvSpPr>
          <p:nvPr>
            <p:ph type="pic" sz="quarter" idx="14"/>
          </p:nvPr>
        </p:nvSpPr>
        <p:spPr>
          <a:xfrm>
            <a:off x="468406" y="403412"/>
            <a:ext cx="5627594" cy="3025588"/>
          </a:xfrm>
          <a:custGeom>
            <a:avLst/>
            <a:gdLst>
              <a:gd name="connsiteX0" fmla="*/ 0 w 5627594"/>
              <a:gd name="connsiteY0" fmla="*/ 0 h 3025588"/>
              <a:gd name="connsiteX1" fmla="*/ 5627594 w 5627594"/>
              <a:gd name="connsiteY1" fmla="*/ 0 h 3025588"/>
              <a:gd name="connsiteX2" fmla="*/ 5627594 w 5627594"/>
              <a:gd name="connsiteY2" fmla="*/ 3025588 h 3025588"/>
              <a:gd name="connsiteX3" fmla="*/ 0 w 5627594"/>
              <a:gd name="connsiteY3" fmla="*/ 3025588 h 3025588"/>
            </a:gdLst>
            <a:ahLst/>
            <a:cxnLst>
              <a:cxn ang="0">
                <a:pos x="connsiteX0" y="connsiteY0"/>
              </a:cxn>
              <a:cxn ang="0">
                <a:pos x="connsiteX1" y="connsiteY1"/>
              </a:cxn>
              <a:cxn ang="0">
                <a:pos x="connsiteX2" y="connsiteY2"/>
              </a:cxn>
              <a:cxn ang="0">
                <a:pos x="connsiteX3" y="connsiteY3"/>
              </a:cxn>
            </a:cxnLst>
            <a:rect l="l" t="t" r="r" b="b"/>
            <a:pathLst>
              <a:path w="5627594" h="3025588">
                <a:moveTo>
                  <a:pt x="0" y="0"/>
                </a:moveTo>
                <a:lnTo>
                  <a:pt x="5627594" y="0"/>
                </a:lnTo>
                <a:lnTo>
                  <a:pt x="5627594" y="3025588"/>
                </a:lnTo>
                <a:lnTo>
                  <a:pt x="0" y="3025588"/>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97" name="Picture Placeholder 12"/>
          <p:cNvSpPr>
            <a:spLocks noGrp="1"/>
          </p:cNvSpPr>
          <p:nvPr>
            <p:ph type="pic" sz="quarter" idx="15"/>
          </p:nvPr>
        </p:nvSpPr>
        <p:spPr>
          <a:xfrm>
            <a:off x="6999438" y="3429000"/>
            <a:ext cx="4724157" cy="3025588"/>
          </a:xfrm>
          <a:custGeom>
            <a:avLst/>
            <a:gdLst>
              <a:gd name="connsiteX0" fmla="*/ 0 w 4724157"/>
              <a:gd name="connsiteY0" fmla="*/ 0 h 3025588"/>
              <a:gd name="connsiteX1" fmla="*/ 4724157 w 4724157"/>
              <a:gd name="connsiteY1" fmla="*/ 0 h 3025588"/>
              <a:gd name="connsiteX2" fmla="*/ 4724157 w 4724157"/>
              <a:gd name="connsiteY2" fmla="*/ 3025588 h 3025588"/>
              <a:gd name="connsiteX3" fmla="*/ 0 w 4724157"/>
              <a:gd name="connsiteY3" fmla="*/ 3025588 h 3025588"/>
            </a:gdLst>
            <a:ahLst/>
            <a:cxnLst>
              <a:cxn ang="0">
                <a:pos x="connsiteX0" y="connsiteY0"/>
              </a:cxn>
              <a:cxn ang="0">
                <a:pos x="connsiteX1" y="connsiteY1"/>
              </a:cxn>
              <a:cxn ang="0">
                <a:pos x="connsiteX2" y="connsiteY2"/>
              </a:cxn>
              <a:cxn ang="0">
                <a:pos x="connsiteX3" y="connsiteY3"/>
              </a:cxn>
            </a:cxnLst>
            <a:rect l="l" t="t" r="r" b="b"/>
            <a:pathLst>
              <a:path w="4724157" h="3025588">
                <a:moveTo>
                  <a:pt x="0" y="0"/>
                </a:moveTo>
                <a:lnTo>
                  <a:pt x="4724157" y="0"/>
                </a:lnTo>
                <a:lnTo>
                  <a:pt x="4724157" y="3025588"/>
                </a:lnTo>
                <a:lnTo>
                  <a:pt x="0" y="3025588"/>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1049120" name="Rectangle 29"/>
          <p:cNvSpPr/>
          <p:nvPr userDrawn="1"/>
        </p:nvSpPr>
        <p:spPr>
          <a:xfrm>
            <a:off x="11784575" y="6273799"/>
            <a:ext cx="407426" cy="6144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21" name="Rectangle 30"/>
          <p:cNvSpPr/>
          <p:nvPr userDrawn="1"/>
        </p:nvSpPr>
        <p:spPr>
          <a:xfrm>
            <a:off x="8292772" y="0"/>
            <a:ext cx="733093" cy="14913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22" name="Picture Placeholder 26"/>
          <p:cNvSpPr>
            <a:spLocks noGrp="1"/>
          </p:cNvSpPr>
          <p:nvPr>
            <p:ph type="pic" sz="quarter" idx="15"/>
          </p:nvPr>
        </p:nvSpPr>
        <p:spPr>
          <a:xfrm>
            <a:off x="7550151" y="1053193"/>
            <a:ext cx="2228850" cy="4715328"/>
          </a:xfrm>
          <a:custGeom>
            <a:avLst/>
            <a:gdLst>
              <a:gd name="connsiteX0" fmla="*/ 292711 w 2228850"/>
              <a:gd name="connsiteY0" fmla="*/ 0 h 4715328"/>
              <a:gd name="connsiteX1" fmla="*/ 1936139 w 2228850"/>
              <a:gd name="connsiteY1" fmla="*/ 0 h 4715328"/>
              <a:gd name="connsiteX2" fmla="*/ 2228850 w 2228850"/>
              <a:gd name="connsiteY2" fmla="*/ 292711 h 4715328"/>
              <a:gd name="connsiteX3" fmla="*/ 2228850 w 2228850"/>
              <a:gd name="connsiteY3" fmla="*/ 1312585 h 4715328"/>
              <a:gd name="connsiteX4" fmla="*/ 2228850 w 2228850"/>
              <a:gd name="connsiteY4" fmla="*/ 1463517 h 4715328"/>
              <a:gd name="connsiteX5" fmla="*/ 2228850 w 2228850"/>
              <a:gd name="connsiteY5" fmla="*/ 2373697 h 4715328"/>
              <a:gd name="connsiteX6" fmla="*/ 2228850 w 2228850"/>
              <a:gd name="connsiteY6" fmla="*/ 2483391 h 4715328"/>
              <a:gd name="connsiteX7" fmla="*/ 2228850 w 2228850"/>
              <a:gd name="connsiteY7" fmla="*/ 3251811 h 4715328"/>
              <a:gd name="connsiteX8" fmla="*/ 2228850 w 2228850"/>
              <a:gd name="connsiteY8" fmla="*/ 3544503 h 4715328"/>
              <a:gd name="connsiteX9" fmla="*/ 2228850 w 2228850"/>
              <a:gd name="connsiteY9" fmla="*/ 4422617 h 4715328"/>
              <a:gd name="connsiteX10" fmla="*/ 1936139 w 2228850"/>
              <a:gd name="connsiteY10" fmla="*/ 4715328 h 4715328"/>
              <a:gd name="connsiteX11" fmla="*/ 292711 w 2228850"/>
              <a:gd name="connsiteY11" fmla="*/ 4715328 h 4715328"/>
              <a:gd name="connsiteX12" fmla="*/ 0 w 2228850"/>
              <a:gd name="connsiteY12" fmla="*/ 4422617 h 4715328"/>
              <a:gd name="connsiteX13" fmla="*/ 0 w 2228850"/>
              <a:gd name="connsiteY13" fmla="*/ 3544503 h 4715328"/>
              <a:gd name="connsiteX14" fmla="*/ 0 w 2228850"/>
              <a:gd name="connsiteY14" fmla="*/ 3251811 h 4715328"/>
              <a:gd name="connsiteX15" fmla="*/ 0 w 2228850"/>
              <a:gd name="connsiteY15" fmla="*/ 2483391 h 4715328"/>
              <a:gd name="connsiteX16" fmla="*/ 0 w 2228850"/>
              <a:gd name="connsiteY16" fmla="*/ 2373697 h 4715328"/>
              <a:gd name="connsiteX17" fmla="*/ 0 w 2228850"/>
              <a:gd name="connsiteY17" fmla="*/ 1463517 h 4715328"/>
              <a:gd name="connsiteX18" fmla="*/ 0 w 2228850"/>
              <a:gd name="connsiteY18" fmla="*/ 1312585 h 4715328"/>
              <a:gd name="connsiteX19" fmla="*/ 0 w 2228850"/>
              <a:gd name="connsiteY19" fmla="*/ 292711 h 4715328"/>
              <a:gd name="connsiteX20" fmla="*/ 292711 w 2228850"/>
              <a:gd name="connsiteY20" fmla="*/ 0 h 471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28850" h="4715328">
                <a:moveTo>
                  <a:pt x="292711" y="0"/>
                </a:moveTo>
                <a:lnTo>
                  <a:pt x="1936139" y="0"/>
                </a:lnTo>
                <a:cubicBezTo>
                  <a:pt x="2097799" y="0"/>
                  <a:pt x="2228850" y="131051"/>
                  <a:pt x="2228850" y="292711"/>
                </a:cubicBezTo>
                <a:lnTo>
                  <a:pt x="2228850" y="1312585"/>
                </a:lnTo>
                <a:lnTo>
                  <a:pt x="2228850" y="1463517"/>
                </a:lnTo>
                <a:lnTo>
                  <a:pt x="2228850" y="2373697"/>
                </a:lnTo>
                <a:lnTo>
                  <a:pt x="2228850" y="2483391"/>
                </a:lnTo>
                <a:lnTo>
                  <a:pt x="2228850" y="3251811"/>
                </a:lnTo>
                <a:lnTo>
                  <a:pt x="2228850" y="3544503"/>
                </a:lnTo>
                <a:lnTo>
                  <a:pt x="2228850" y="4422617"/>
                </a:lnTo>
                <a:cubicBezTo>
                  <a:pt x="2228850" y="4584277"/>
                  <a:pt x="2097799" y="4715328"/>
                  <a:pt x="1936139" y="4715328"/>
                </a:cubicBezTo>
                <a:lnTo>
                  <a:pt x="292711" y="4715328"/>
                </a:lnTo>
                <a:cubicBezTo>
                  <a:pt x="131051" y="4715328"/>
                  <a:pt x="0" y="4584277"/>
                  <a:pt x="0" y="4422617"/>
                </a:cubicBezTo>
                <a:lnTo>
                  <a:pt x="0" y="3544503"/>
                </a:lnTo>
                <a:lnTo>
                  <a:pt x="0" y="3251811"/>
                </a:lnTo>
                <a:lnTo>
                  <a:pt x="0" y="2483391"/>
                </a:lnTo>
                <a:lnTo>
                  <a:pt x="0" y="2373697"/>
                </a:lnTo>
                <a:lnTo>
                  <a:pt x="0" y="1463517"/>
                </a:lnTo>
                <a:lnTo>
                  <a:pt x="0" y="1312585"/>
                </a:lnTo>
                <a:lnTo>
                  <a:pt x="0" y="292711"/>
                </a:lnTo>
                <a:cubicBezTo>
                  <a:pt x="0" y="131051"/>
                  <a:pt x="131051" y="0"/>
                  <a:pt x="292711"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23" name="Picture Placeholder 28"/>
          <p:cNvSpPr>
            <a:spLocks noGrp="1"/>
          </p:cNvSpPr>
          <p:nvPr>
            <p:ph type="pic" sz="quarter" idx="16"/>
          </p:nvPr>
        </p:nvSpPr>
        <p:spPr>
          <a:xfrm>
            <a:off x="10807700" y="532492"/>
            <a:ext cx="1384300" cy="5741307"/>
          </a:xfrm>
          <a:custGeom>
            <a:avLst/>
            <a:gdLst>
              <a:gd name="connsiteX0" fmla="*/ 353588 w 1384300"/>
              <a:gd name="connsiteY0" fmla="*/ 0 h 5741307"/>
              <a:gd name="connsiteX1" fmla="*/ 1384300 w 1384300"/>
              <a:gd name="connsiteY1" fmla="*/ 0 h 5741307"/>
              <a:gd name="connsiteX2" fmla="*/ 1384300 w 1384300"/>
              <a:gd name="connsiteY2" fmla="*/ 5741307 h 5741307"/>
              <a:gd name="connsiteX3" fmla="*/ 353588 w 1384300"/>
              <a:gd name="connsiteY3" fmla="*/ 5741307 h 5741307"/>
              <a:gd name="connsiteX4" fmla="*/ 0 w 1384300"/>
              <a:gd name="connsiteY4" fmla="*/ 5384907 h 5741307"/>
              <a:gd name="connsiteX5" fmla="*/ 0 w 1384300"/>
              <a:gd name="connsiteY5" fmla="*/ 4315730 h 5741307"/>
              <a:gd name="connsiteX6" fmla="*/ 0 w 1384300"/>
              <a:gd name="connsiteY6" fmla="*/ 3959353 h 5741307"/>
              <a:gd name="connsiteX7" fmla="*/ 0 w 1384300"/>
              <a:gd name="connsiteY7" fmla="*/ 3023737 h 5741307"/>
              <a:gd name="connsiteX8" fmla="*/ 0 w 1384300"/>
              <a:gd name="connsiteY8" fmla="*/ 2890175 h 5741307"/>
              <a:gd name="connsiteX9" fmla="*/ 0 w 1384300"/>
              <a:gd name="connsiteY9" fmla="*/ 1781955 h 5741307"/>
              <a:gd name="connsiteX10" fmla="*/ 0 w 1384300"/>
              <a:gd name="connsiteY10" fmla="*/ 1598182 h 5741307"/>
              <a:gd name="connsiteX11" fmla="*/ 0 w 1384300"/>
              <a:gd name="connsiteY11" fmla="*/ 356400 h 5741307"/>
              <a:gd name="connsiteX12" fmla="*/ 353588 w 1384300"/>
              <a:gd name="connsiteY12" fmla="*/ 0 h 574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4300" h="5741307">
                <a:moveTo>
                  <a:pt x="353588" y="0"/>
                </a:moveTo>
                <a:lnTo>
                  <a:pt x="1384300" y="0"/>
                </a:lnTo>
                <a:lnTo>
                  <a:pt x="1384300" y="5741307"/>
                </a:lnTo>
                <a:lnTo>
                  <a:pt x="353588" y="5741307"/>
                </a:lnTo>
                <a:cubicBezTo>
                  <a:pt x="158307" y="5741307"/>
                  <a:pt x="0" y="5581742"/>
                  <a:pt x="0" y="5384907"/>
                </a:cubicBezTo>
                <a:lnTo>
                  <a:pt x="0" y="4315730"/>
                </a:lnTo>
                <a:lnTo>
                  <a:pt x="0" y="3959353"/>
                </a:lnTo>
                <a:lnTo>
                  <a:pt x="0" y="3023737"/>
                </a:lnTo>
                <a:lnTo>
                  <a:pt x="0" y="2890175"/>
                </a:lnTo>
                <a:lnTo>
                  <a:pt x="0" y="1781955"/>
                </a:lnTo>
                <a:lnTo>
                  <a:pt x="0" y="1598182"/>
                </a:lnTo>
                <a:lnTo>
                  <a:pt x="0" y="356400"/>
                </a:lnTo>
                <a:cubicBezTo>
                  <a:pt x="0" y="159566"/>
                  <a:pt x="158307" y="0"/>
                  <a:pt x="353588"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1049140" name="Picture Placeholder 6"/>
          <p:cNvSpPr>
            <a:spLocks noGrp="1"/>
          </p:cNvSpPr>
          <p:nvPr>
            <p:ph type="pic" sz="quarter" idx="14"/>
          </p:nvPr>
        </p:nvSpPr>
        <p:spPr>
          <a:xfrm>
            <a:off x="2954430" y="1555937"/>
            <a:ext cx="2827245" cy="3730438"/>
          </a:xfrm>
          <a:custGeom>
            <a:avLst/>
            <a:gdLst>
              <a:gd name="connsiteX0" fmla="*/ 0 w 5627594"/>
              <a:gd name="connsiteY0" fmla="*/ 0 h 3025588"/>
              <a:gd name="connsiteX1" fmla="*/ 5627594 w 5627594"/>
              <a:gd name="connsiteY1" fmla="*/ 0 h 3025588"/>
              <a:gd name="connsiteX2" fmla="*/ 5627594 w 5627594"/>
              <a:gd name="connsiteY2" fmla="*/ 3025588 h 3025588"/>
              <a:gd name="connsiteX3" fmla="*/ 0 w 5627594"/>
              <a:gd name="connsiteY3" fmla="*/ 3025588 h 3025588"/>
            </a:gdLst>
            <a:ahLst/>
            <a:cxnLst>
              <a:cxn ang="0">
                <a:pos x="connsiteX0" y="connsiteY0"/>
              </a:cxn>
              <a:cxn ang="0">
                <a:pos x="connsiteX1" y="connsiteY1"/>
              </a:cxn>
              <a:cxn ang="0">
                <a:pos x="connsiteX2" y="connsiteY2"/>
              </a:cxn>
              <a:cxn ang="0">
                <a:pos x="connsiteX3" y="connsiteY3"/>
              </a:cxn>
            </a:cxnLst>
            <a:rect l="l" t="t" r="r" b="b"/>
            <a:pathLst>
              <a:path w="5627594" h="3025588">
                <a:moveTo>
                  <a:pt x="0" y="0"/>
                </a:moveTo>
                <a:lnTo>
                  <a:pt x="5627594" y="0"/>
                </a:lnTo>
                <a:lnTo>
                  <a:pt x="5627594" y="3025588"/>
                </a:lnTo>
                <a:lnTo>
                  <a:pt x="0" y="3025588"/>
                </a:ln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1049133" name="Rectangle 9"/>
          <p:cNvSpPr/>
          <p:nvPr userDrawn="1"/>
        </p:nvSpPr>
        <p:spPr>
          <a:xfrm>
            <a:off x="0" y="4891314"/>
            <a:ext cx="12192000" cy="19666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134" name="Picture Placeholder 7"/>
          <p:cNvSpPr>
            <a:spLocks noGrp="1"/>
          </p:cNvSpPr>
          <p:nvPr>
            <p:ph type="pic" sz="quarter" idx="15"/>
          </p:nvPr>
        </p:nvSpPr>
        <p:spPr>
          <a:xfrm>
            <a:off x="9096375" y="1053193"/>
            <a:ext cx="2228850" cy="4715328"/>
          </a:xfrm>
          <a:custGeom>
            <a:avLst/>
            <a:gdLst>
              <a:gd name="connsiteX0" fmla="*/ 292711 w 2228850"/>
              <a:gd name="connsiteY0" fmla="*/ 0 h 4715328"/>
              <a:gd name="connsiteX1" fmla="*/ 1936139 w 2228850"/>
              <a:gd name="connsiteY1" fmla="*/ 0 h 4715328"/>
              <a:gd name="connsiteX2" fmla="*/ 2228850 w 2228850"/>
              <a:gd name="connsiteY2" fmla="*/ 292711 h 4715328"/>
              <a:gd name="connsiteX3" fmla="*/ 2228850 w 2228850"/>
              <a:gd name="connsiteY3" fmla="*/ 1312585 h 4715328"/>
              <a:gd name="connsiteX4" fmla="*/ 2228850 w 2228850"/>
              <a:gd name="connsiteY4" fmla="*/ 1463517 h 4715328"/>
              <a:gd name="connsiteX5" fmla="*/ 2228850 w 2228850"/>
              <a:gd name="connsiteY5" fmla="*/ 2373697 h 4715328"/>
              <a:gd name="connsiteX6" fmla="*/ 2228850 w 2228850"/>
              <a:gd name="connsiteY6" fmla="*/ 2483391 h 4715328"/>
              <a:gd name="connsiteX7" fmla="*/ 2228850 w 2228850"/>
              <a:gd name="connsiteY7" fmla="*/ 3251811 h 4715328"/>
              <a:gd name="connsiteX8" fmla="*/ 2228850 w 2228850"/>
              <a:gd name="connsiteY8" fmla="*/ 3544503 h 4715328"/>
              <a:gd name="connsiteX9" fmla="*/ 2228850 w 2228850"/>
              <a:gd name="connsiteY9" fmla="*/ 4422617 h 4715328"/>
              <a:gd name="connsiteX10" fmla="*/ 1936139 w 2228850"/>
              <a:gd name="connsiteY10" fmla="*/ 4715328 h 4715328"/>
              <a:gd name="connsiteX11" fmla="*/ 292711 w 2228850"/>
              <a:gd name="connsiteY11" fmla="*/ 4715328 h 4715328"/>
              <a:gd name="connsiteX12" fmla="*/ 0 w 2228850"/>
              <a:gd name="connsiteY12" fmla="*/ 4422617 h 4715328"/>
              <a:gd name="connsiteX13" fmla="*/ 0 w 2228850"/>
              <a:gd name="connsiteY13" fmla="*/ 3544503 h 4715328"/>
              <a:gd name="connsiteX14" fmla="*/ 0 w 2228850"/>
              <a:gd name="connsiteY14" fmla="*/ 3251811 h 4715328"/>
              <a:gd name="connsiteX15" fmla="*/ 0 w 2228850"/>
              <a:gd name="connsiteY15" fmla="*/ 2483391 h 4715328"/>
              <a:gd name="connsiteX16" fmla="*/ 0 w 2228850"/>
              <a:gd name="connsiteY16" fmla="*/ 2373697 h 4715328"/>
              <a:gd name="connsiteX17" fmla="*/ 0 w 2228850"/>
              <a:gd name="connsiteY17" fmla="*/ 1463517 h 4715328"/>
              <a:gd name="connsiteX18" fmla="*/ 0 w 2228850"/>
              <a:gd name="connsiteY18" fmla="*/ 1312585 h 4715328"/>
              <a:gd name="connsiteX19" fmla="*/ 0 w 2228850"/>
              <a:gd name="connsiteY19" fmla="*/ 292711 h 4715328"/>
              <a:gd name="connsiteX20" fmla="*/ 292711 w 2228850"/>
              <a:gd name="connsiteY20" fmla="*/ 0 h 471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28850" h="4715328">
                <a:moveTo>
                  <a:pt x="292711" y="0"/>
                </a:moveTo>
                <a:lnTo>
                  <a:pt x="1936139" y="0"/>
                </a:lnTo>
                <a:cubicBezTo>
                  <a:pt x="2097799" y="0"/>
                  <a:pt x="2228850" y="131051"/>
                  <a:pt x="2228850" y="292711"/>
                </a:cubicBezTo>
                <a:lnTo>
                  <a:pt x="2228850" y="1312585"/>
                </a:lnTo>
                <a:lnTo>
                  <a:pt x="2228850" y="1463517"/>
                </a:lnTo>
                <a:lnTo>
                  <a:pt x="2228850" y="2373697"/>
                </a:lnTo>
                <a:lnTo>
                  <a:pt x="2228850" y="2483391"/>
                </a:lnTo>
                <a:lnTo>
                  <a:pt x="2228850" y="3251811"/>
                </a:lnTo>
                <a:lnTo>
                  <a:pt x="2228850" y="3544503"/>
                </a:lnTo>
                <a:lnTo>
                  <a:pt x="2228850" y="4422617"/>
                </a:lnTo>
                <a:cubicBezTo>
                  <a:pt x="2228850" y="4584277"/>
                  <a:pt x="2097799" y="4715328"/>
                  <a:pt x="1936139" y="4715328"/>
                </a:cubicBezTo>
                <a:lnTo>
                  <a:pt x="292711" y="4715328"/>
                </a:lnTo>
                <a:cubicBezTo>
                  <a:pt x="131051" y="4715328"/>
                  <a:pt x="0" y="4584277"/>
                  <a:pt x="0" y="4422617"/>
                </a:cubicBezTo>
                <a:lnTo>
                  <a:pt x="0" y="3544503"/>
                </a:lnTo>
                <a:lnTo>
                  <a:pt x="0" y="3251811"/>
                </a:lnTo>
                <a:lnTo>
                  <a:pt x="0" y="2483391"/>
                </a:lnTo>
                <a:lnTo>
                  <a:pt x="0" y="2373697"/>
                </a:lnTo>
                <a:lnTo>
                  <a:pt x="0" y="1463517"/>
                </a:lnTo>
                <a:lnTo>
                  <a:pt x="0" y="1312585"/>
                </a:lnTo>
                <a:lnTo>
                  <a:pt x="0" y="292711"/>
                </a:lnTo>
                <a:cubicBezTo>
                  <a:pt x="0" y="131051"/>
                  <a:pt x="131051" y="0"/>
                  <a:pt x="292711"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
        <p:nvSpPr>
          <p:cNvPr id="1049135" name="Picture Placeholder 8"/>
          <p:cNvSpPr>
            <a:spLocks noGrp="1"/>
          </p:cNvSpPr>
          <p:nvPr>
            <p:ph type="pic" sz="quarter" idx="16"/>
          </p:nvPr>
        </p:nvSpPr>
        <p:spPr>
          <a:xfrm>
            <a:off x="866775" y="1053193"/>
            <a:ext cx="2228850" cy="4715328"/>
          </a:xfrm>
          <a:custGeom>
            <a:avLst/>
            <a:gdLst>
              <a:gd name="connsiteX0" fmla="*/ 292711 w 2228850"/>
              <a:gd name="connsiteY0" fmla="*/ 0 h 4715328"/>
              <a:gd name="connsiteX1" fmla="*/ 1936139 w 2228850"/>
              <a:gd name="connsiteY1" fmla="*/ 0 h 4715328"/>
              <a:gd name="connsiteX2" fmla="*/ 2228850 w 2228850"/>
              <a:gd name="connsiteY2" fmla="*/ 292711 h 4715328"/>
              <a:gd name="connsiteX3" fmla="*/ 2228850 w 2228850"/>
              <a:gd name="connsiteY3" fmla="*/ 1312585 h 4715328"/>
              <a:gd name="connsiteX4" fmla="*/ 2228850 w 2228850"/>
              <a:gd name="connsiteY4" fmla="*/ 1463517 h 4715328"/>
              <a:gd name="connsiteX5" fmla="*/ 2228850 w 2228850"/>
              <a:gd name="connsiteY5" fmla="*/ 2373697 h 4715328"/>
              <a:gd name="connsiteX6" fmla="*/ 2228850 w 2228850"/>
              <a:gd name="connsiteY6" fmla="*/ 2483391 h 4715328"/>
              <a:gd name="connsiteX7" fmla="*/ 2228850 w 2228850"/>
              <a:gd name="connsiteY7" fmla="*/ 3251811 h 4715328"/>
              <a:gd name="connsiteX8" fmla="*/ 2228850 w 2228850"/>
              <a:gd name="connsiteY8" fmla="*/ 3544503 h 4715328"/>
              <a:gd name="connsiteX9" fmla="*/ 2228850 w 2228850"/>
              <a:gd name="connsiteY9" fmla="*/ 4422617 h 4715328"/>
              <a:gd name="connsiteX10" fmla="*/ 1936139 w 2228850"/>
              <a:gd name="connsiteY10" fmla="*/ 4715328 h 4715328"/>
              <a:gd name="connsiteX11" fmla="*/ 292711 w 2228850"/>
              <a:gd name="connsiteY11" fmla="*/ 4715328 h 4715328"/>
              <a:gd name="connsiteX12" fmla="*/ 0 w 2228850"/>
              <a:gd name="connsiteY12" fmla="*/ 4422617 h 4715328"/>
              <a:gd name="connsiteX13" fmla="*/ 0 w 2228850"/>
              <a:gd name="connsiteY13" fmla="*/ 3544503 h 4715328"/>
              <a:gd name="connsiteX14" fmla="*/ 0 w 2228850"/>
              <a:gd name="connsiteY14" fmla="*/ 3251811 h 4715328"/>
              <a:gd name="connsiteX15" fmla="*/ 0 w 2228850"/>
              <a:gd name="connsiteY15" fmla="*/ 2483391 h 4715328"/>
              <a:gd name="connsiteX16" fmla="*/ 0 w 2228850"/>
              <a:gd name="connsiteY16" fmla="*/ 2373697 h 4715328"/>
              <a:gd name="connsiteX17" fmla="*/ 0 w 2228850"/>
              <a:gd name="connsiteY17" fmla="*/ 1463517 h 4715328"/>
              <a:gd name="connsiteX18" fmla="*/ 0 w 2228850"/>
              <a:gd name="connsiteY18" fmla="*/ 1312585 h 4715328"/>
              <a:gd name="connsiteX19" fmla="*/ 0 w 2228850"/>
              <a:gd name="connsiteY19" fmla="*/ 292711 h 4715328"/>
              <a:gd name="connsiteX20" fmla="*/ 292711 w 2228850"/>
              <a:gd name="connsiteY20" fmla="*/ 0 h 471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28850" h="4715328">
                <a:moveTo>
                  <a:pt x="292711" y="0"/>
                </a:moveTo>
                <a:lnTo>
                  <a:pt x="1936139" y="0"/>
                </a:lnTo>
                <a:cubicBezTo>
                  <a:pt x="2097799" y="0"/>
                  <a:pt x="2228850" y="131051"/>
                  <a:pt x="2228850" y="292711"/>
                </a:cubicBezTo>
                <a:lnTo>
                  <a:pt x="2228850" y="1312585"/>
                </a:lnTo>
                <a:lnTo>
                  <a:pt x="2228850" y="1463517"/>
                </a:lnTo>
                <a:lnTo>
                  <a:pt x="2228850" y="2373697"/>
                </a:lnTo>
                <a:lnTo>
                  <a:pt x="2228850" y="2483391"/>
                </a:lnTo>
                <a:lnTo>
                  <a:pt x="2228850" y="3251811"/>
                </a:lnTo>
                <a:lnTo>
                  <a:pt x="2228850" y="3544503"/>
                </a:lnTo>
                <a:lnTo>
                  <a:pt x="2228850" y="4422617"/>
                </a:lnTo>
                <a:cubicBezTo>
                  <a:pt x="2228850" y="4584277"/>
                  <a:pt x="2097799" y="4715328"/>
                  <a:pt x="1936139" y="4715328"/>
                </a:cubicBezTo>
                <a:lnTo>
                  <a:pt x="292711" y="4715328"/>
                </a:lnTo>
                <a:cubicBezTo>
                  <a:pt x="131051" y="4715328"/>
                  <a:pt x="0" y="4584277"/>
                  <a:pt x="0" y="4422617"/>
                </a:cubicBezTo>
                <a:lnTo>
                  <a:pt x="0" y="3544503"/>
                </a:lnTo>
                <a:lnTo>
                  <a:pt x="0" y="3251811"/>
                </a:lnTo>
                <a:lnTo>
                  <a:pt x="0" y="2483391"/>
                </a:lnTo>
                <a:lnTo>
                  <a:pt x="0" y="2373697"/>
                </a:lnTo>
                <a:lnTo>
                  <a:pt x="0" y="1463517"/>
                </a:lnTo>
                <a:lnTo>
                  <a:pt x="0" y="1312585"/>
                </a:lnTo>
                <a:lnTo>
                  <a:pt x="0" y="292711"/>
                </a:lnTo>
                <a:cubicBezTo>
                  <a:pt x="0" y="131051"/>
                  <a:pt x="131051" y="0"/>
                  <a:pt x="292711" y="0"/>
                </a:cubicBezTo>
                <a:close/>
              </a:path>
            </a:pathLst>
          </a:custGeom>
          <a:pattFill prst="solidDmnd">
            <a:fgClr>
              <a:schemeClr val="bg1">
                <a:lumMod val="85000"/>
              </a:schemeClr>
            </a:fgClr>
            <a:bgClr>
              <a:schemeClr val="bg1"/>
            </a:bgClr>
          </a:pattFill>
        </p:spPr>
        <p:txBody>
          <a:bodyPr wrap="square" anchor="ctr">
            <a:noAutofit/>
          </a:bodyPr>
          <a:lstStyle>
            <a:lvl1pPr algn="ctr">
              <a:defRPr sz="1600">
                <a:solidFill>
                  <a:schemeClr val="tx1">
                    <a:lumMod val="75000"/>
                    <a:lumOff val="25000"/>
                  </a:schemeClr>
                </a:solidFill>
              </a:defRPr>
            </a:lvl1pPr>
          </a:lstStyle>
          <a:p>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49089" name="Title 1"/>
          <p:cNvSpPr>
            <a:spLocks noGrp="1"/>
          </p:cNvSpPr>
          <p:nvPr>
            <p:ph type="title"/>
          </p:nvPr>
        </p:nvSpPr>
        <p:spPr>
          <a:xfrm>
            <a:off x="838200" y="384541"/>
            <a:ext cx="10515600" cy="584775"/>
          </a:xfrm>
        </p:spPr>
        <p:txBody>
          <a:bodyPr/>
          <a:lstStyle>
            <a:lvl1pPr>
              <a:defRPr sz="3200">
                <a:solidFill>
                  <a:srgbClr val="323139"/>
                </a:solidFill>
              </a:defRPr>
            </a:lvl1pPr>
          </a:lstStyle>
          <a:p>
            <a:r>
              <a:rPr lang="en-US" dirty="0"/>
              <a:t>Click to edit Master title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1049028" name="Slide Number Placeholder 3"/>
          <p:cNvSpPr>
            <a:spLocks noGrp="1"/>
          </p:cNvSpPr>
          <p:nvPr>
            <p:ph type="sldNum" sz="quarter" idx="12"/>
          </p:nvPr>
        </p:nvSpPr>
        <p:spPr/>
        <p:txBody>
          <a:bodyPr/>
          <a:lstStyle>
            <a:lvl1pPr algn="ctr"/>
          </a:lstStyle>
          <a:p>
            <a:fld id="{A9741AAB-57A4-4E74-9983-01B37A8F9082}" type="slidenum">
              <a:rPr lang="en-US" smtClean="0"/>
              <a:t>‹#›</a:t>
            </a:fld>
            <a:endParaRPr lang="en-US"/>
          </a:p>
        </p:txBody>
      </p:sp>
      <p:sp>
        <p:nvSpPr>
          <p:cNvPr id="1049029" name="Picture Placeholder 2"/>
          <p:cNvSpPr>
            <a:spLocks noGrp="1"/>
          </p:cNvSpPr>
          <p:nvPr>
            <p:ph type="pic" sz="quarter" idx="13"/>
          </p:nvPr>
        </p:nvSpPr>
        <p:spPr>
          <a:xfrm>
            <a:off x="0" y="0"/>
            <a:ext cx="12192000" cy="6858000"/>
          </a:xfrm>
        </p:spPr>
        <p:txBody>
          <a:bodyPr/>
          <a:lstStyle/>
          <a:p>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49162" name="Title 1"/>
          <p:cNvSpPr>
            <a:spLocks noGrp="1"/>
          </p:cNvSpPr>
          <p:nvPr>
            <p:ph type="title"/>
          </p:nvPr>
        </p:nvSpPr>
        <p:spPr>
          <a:xfrm>
            <a:off x="839788" y="365125"/>
            <a:ext cx="10515600" cy="1325563"/>
          </a:xfrm>
        </p:spPr>
        <p:txBody>
          <a:bodyPr/>
          <a:lstStyle/>
          <a:p>
            <a:r>
              <a:rPr lang="en-US"/>
              <a:t>Click to edit Master title style</a:t>
            </a:r>
          </a:p>
        </p:txBody>
      </p:sp>
      <p:sp>
        <p:nvSpPr>
          <p:cNvPr id="104916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4916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16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4916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9167" name="Date Placeholder 6"/>
          <p:cNvSpPr>
            <a:spLocks noGrp="1"/>
          </p:cNvSpPr>
          <p:nvPr>
            <p:ph type="dt" sz="half" idx="10"/>
          </p:nvPr>
        </p:nvSpPr>
        <p:spPr/>
        <p:txBody>
          <a:bodyPr/>
          <a:lstStyle/>
          <a:p>
            <a:fld id="{E678B23A-0579-4A25-9F8C-78E5A3656303}" type="datetimeFigureOut">
              <a:rPr lang="en-US" smtClean="0"/>
              <a:t>3/13/2023</a:t>
            </a:fld>
            <a:endParaRPr lang="en-US"/>
          </a:p>
        </p:txBody>
      </p:sp>
      <p:sp>
        <p:nvSpPr>
          <p:cNvPr id="1049168" name="Footer Placeholder 7"/>
          <p:cNvSpPr>
            <a:spLocks noGrp="1"/>
          </p:cNvSpPr>
          <p:nvPr>
            <p:ph type="ftr" sz="quarter" idx="11"/>
          </p:nvPr>
        </p:nvSpPr>
        <p:spPr/>
        <p:txBody>
          <a:bodyPr/>
          <a:lstStyle/>
          <a:p>
            <a:endParaRPr lang="en-US"/>
          </a:p>
        </p:txBody>
      </p:sp>
      <p:sp>
        <p:nvSpPr>
          <p:cNvPr id="1049169" name="Slide Number Placeholder 8"/>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6927862" cy="6358848"/>
          </a:xfrm>
          <a:custGeom>
            <a:avLst/>
            <a:gdLst>
              <a:gd name="connsiteX0" fmla="*/ 0 w 6927862"/>
              <a:gd name="connsiteY0" fmla="*/ 0 h 6358848"/>
              <a:gd name="connsiteX1" fmla="*/ 6032527 w 6927862"/>
              <a:gd name="connsiteY1" fmla="*/ 0 h 6358848"/>
              <a:gd name="connsiteX2" fmla="*/ 6058984 w 6927862"/>
              <a:gd name="connsiteY2" fmla="*/ 45884 h 6358848"/>
              <a:gd name="connsiteX3" fmla="*/ 6872673 w 6927862"/>
              <a:gd name="connsiteY3" fmla="*/ 1457051 h 6358848"/>
              <a:gd name="connsiteX4" fmla="*/ 6872673 w 6927862"/>
              <a:gd name="connsiteY4" fmla="*/ 1878258 h 6358848"/>
              <a:gd name="connsiteX5" fmla="*/ 4407533 w 6927862"/>
              <a:gd name="connsiteY5" fmla="*/ 6148244 h 6358848"/>
              <a:gd name="connsiteX6" fmla="*/ 4044858 w 6927862"/>
              <a:gd name="connsiteY6" fmla="*/ 6358848 h 6358848"/>
              <a:gd name="connsiteX7" fmla="*/ 379196 w 6927862"/>
              <a:gd name="connsiteY7" fmla="*/ 6358848 h 6358848"/>
              <a:gd name="connsiteX8" fmla="*/ 0 w 6927862"/>
              <a:gd name="connsiteY8" fmla="*/ 6358848 h 635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27862" h="6358848">
                <a:moveTo>
                  <a:pt x="0" y="0"/>
                </a:moveTo>
                <a:lnTo>
                  <a:pt x="6032527" y="0"/>
                </a:lnTo>
                <a:lnTo>
                  <a:pt x="6058984" y="45884"/>
                </a:lnTo>
                <a:cubicBezTo>
                  <a:pt x="6294906" y="455039"/>
                  <a:pt x="6564531" y="922645"/>
                  <a:pt x="6872673" y="1457051"/>
                </a:cubicBezTo>
                <a:cubicBezTo>
                  <a:pt x="6946259" y="1583413"/>
                  <a:pt x="6946259" y="1746631"/>
                  <a:pt x="6872673" y="1878258"/>
                </a:cubicBezTo>
                <a:cubicBezTo>
                  <a:pt x="6872673" y="1878258"/>
                  <a:pt x="6872673" y="1878258"/>
                  <a:pt x="4407533" y="6148244"/>
                </a:cubicBezTo>
                <a:cubicBezTo>
                  <a:pt x="4333947" y="6279872"/>
                  <a:pt x="4197287" y="6358848"/>
                  <a:pt x="4044858" y="6358848"/>
                </a:cubicBezTo>
                <a:cubicBezTo>
                  <a:pt x="4044858" y="6358848"/>
                  <a:pt x="4044858" y="6358848"/>
                  <a:pt x="379196" y="6358848"/>
                </a:cubicBezTo>
                <a:lnTo>
                  <a:pt x="0" y="6358848"/>
                </a:lnTo>
                <a:close/>
              </a:path>
            </a:pathLst>
          </a:custGeom>
        </p:spPr>
        <p:txBody>
          <a:bodyPr wrap="square">
            <a:noAutofit/>
          </a:bodyPr>
          <a:lstStyle/>
          <a:p>
            <a:endParaRPr lang="en-US"/>
          </a:p>
        </p:txBody>
      </p:sp>
    </p:spTree>
    <p:extLst>
      <p:ext uri="{BB962C8B-B14F-4D97-AF65-F5344CB8AC3E}">
        <p14:creationId xmlns:p14="http://schemas.microsoft.com/office/powerpoint/2010/main" val="31429753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5045426" y="0"/>
            <a:ext cx="7146575" cy="3959924"/>
          </a:xfrm>
          <a:custGeom>
            <a:avLst/>
            <a:gdLst>
              <a:gd name="connsiteX0" fmla="*/ 3883913 w 7146575"/>
              <a:gd name="connsiteY0" fmla="*/ 177799 h 3959924"/>
              <a:gd name="connsiteX1" fmla="*/ 5774975 w 7146575"/>
              <a:gd name="connsiteY1" fmla="*/ 2068862 h 3959924"/>
              <a:gd name="connsiteX2" fmla="*/ 3883913 w 7146575"/>
              <a:gd name="connsiteY2" fmla="*/ 3959924 h 3959924"/>
              <a:gd name="connsiteX3" fmla="*/ 1992850 w 7146575"/>
              <a:gd name="connsiteY3" fmla="*/ 2068862 h 3959924"/>
              <a:gd name="connsiteX4" fmla="*/ 4038600 w 7146575"/>
              <a:gd name="connsiteY4" fmla="*/ 0 h 3959924"/>
              <a:gd name="connsiteX5" fmla="*/ 7146575 w 7146575"/>
              <a:gd name="connsiteY5" fmla="*/ 0 h 3959924"/>
              <a:gd name="connsiteX6" fmla="*/ 7146575 w 7146575"/>
              <a:gd name="connsiteY6" fmla="*/ 621250 h 3959924"/>
              <a:gd name="connsiteX7" fmla="*/ 5903213 w 7146575"/>
              <a:gd name="connsiteY7" fmla="*/ 1864612 h 3959924"/>
              <a:gd name="connsiteX8" fmla="*/ 0 w 7146575"/>
              <a:gd name="connsiteY8" fmla="*/ 0 h 3959924"/>
              <a:gd name="connsiteX9" fmla="*/ 3729225 w 7146575"/>
              <a:gd name="connsiteY9" fmla="*/ 0 h 3959924"/>
              <a:gd name="connsiteX10" fmla="*/ 1864613 w 7146575"/>
              <a:gd name="connsiteY10" fmla="*/ 1864612 h 395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46575" h="3959924">
                <a:moveTo>
                  <a:pt x="3883913" y="177799"/>
                </a:moveTo>
                <a:lnTo>
                  <a:pt x="5774975" y="2068862"/>
                </a:lnTo>
                <a:lnTo>
                  <a:pt x="3883913" y="3959924"/>
                </a:lnTo>
                <a:lnTo>
                  <a:pt x="1992850" y="2068862"/>
                </a:lnTo>
                <a:close/>
                <a:moveTo>
                  <a:pt x="4038600" y="0"/>
                </a:moveTo>
                <a:lnTo>
                  <a:pt x="7146575" y="0"/>
                </a:lnTo>
                <a:lnTo>
                  <a:pt x="7146575" y="621250"/>
                </a:lnTo>
                <a:lnTo>
                  <a:pt x="5903213" y="1864612"/>
                </a:lnTo>
                <a:close/>
                <a:moveTo>
                  <a:pt x="0" y="0"/>
                </a:moveTo>
                <a:lnTo>
                  <a:pt x="3729225" y="0"/>
                </a:lnTo>
                <a:lnTo>
                  <a:pt x="1864613" y="1864612"/>
                </a:lnTo>
                <a:close/>
              </a:path>
            </a:pathLst>
          </a:custGeom>
        </p:spPr>
        <p:txBody>
          <a:bodyPr wrap="square">
            <a:noAutofit/>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4"/>
          </p:nvPr>
        </p:nvSpPr>
        <p:spPr>
          <a:xfrm>
            <a:off x="11227443" y="6492875"/>
            <a:ext cx="601884" cy="365125"/>
          </a:xfrm>
          <a:prstGeom prst="rect">
            <a:avLst/>
          </a:prstGeom>
        </p:spPr>
        <p:txBody>
          <a:bodyPr/>
          <a:lstStyle/>
          <a:p>
            <a:pPr algn="ctr"/>
            <a:fld id="{A9741AAB-57A4-4E74-9983-01B37A8F9082}" type="slidenum">
              <a:rPr lang="en-US" smtClean="0"/>
              <a:pPr algn="ctr"/>
              <a:t>‹#›</a:t>
            </a:fld>
            <a:endParaRPr lang="en-US"/>
          </a:p>
        </p:txBody>
      </p:sp>
    </p:spTree>
    <p:extLst>
      <p:ext uri="{BB962C8B-B14F-4D97-AF65-F5344CB8AC3E}">
        <p14:creationId xmlns:p14="http://schemas.microsoft.com/office/powerpoint/2010/main" val="18590236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userDrawn="1"/>
        </p:nvSpPr>
        <p:spPr>
          <a:xfrm>
            <a:off x="1" y="3225800"/>
            <a:ext cx="12192000" cy="3632200"/>
          </a:xfrm>
          <a:prstGeom prst="rect">
            <a:avLst/>
          </a:prstGeom>
          <a:gradFill flip="none" rotWithShape="1">
            <a:gsLst>
              <a:gs pos="44000">
                <a:srgbClr val="CBCBCB">
                  <a:alpha val="22000"/>
                </a:srgbClr>
              </a:gs>
              <a:gs pos="100000">
                <a:srgbClr val="5F5F5F">
                  <a:alpha val="19000"/>
                </a:srgbClr>
              </a:gs>
              <a:gs pos="100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95"/>
            <a:endParaRPr lang="en-US" sz="2399">
              <a:solidFill>
                <a:prstClr val="white"/>
              </a:solidFill>
            </a:endParaRPr>
          </a:p>
        </p:txBody>
      </p:sp>
      <p:sp>
        <p:nvSpPr>
          <p:cNvPr id="2" name="Title 1"/>
          <p:cNvSpPr>
            <a:spLocks noGrp="1"/>
          </p:cNvSpPr>
          <p:nvPr>
            <p:ph type="ctrTitle"/>
          </p:nvPr>
        </p:nvSpPr>
        <p:spPr>
          <a:xfrm>
            <a:off x="914401" y="4987990"/>
            <a:ext cx="10363200" cy="610820"/>
          </a:xfrm>
        </p:spPr>
        <p:txBody>
          <a:bodyPr/>
          <a:lstStyle>
            <a:lvl1pPr algn="ctr">
              <a:defRPr lang="en-US" sz="3999" kern="1200" smtClean="0">
                <a:solidFill>
                  <a:schemeClr val="tx1">
                    <a:lumMod val="75000"/>
                    <a:lumOff val="25000"/>
                  </a:schemeClr>
                </a:solidFill>
                <a:latin typeface="+mj-lt"/>
                <a:ea typeface="+mj-ea"/>
                <a:cs typeface="+mj-cs"/>
              </a:defRPr>
            </a:lvl1pPr>
          </a:lstStyle>
          <a:p>
            <a:r>
              <a:rPr lang="en-US" dirty="0"/>
              <a:t>Click to edit Master title style</a:t>
            </a:r>
          </a:p>
        </p:txBody>
      </p:sp>
      <p:sp>
        <p:nvSpPr>
          <p:cNvPr id="3" name="Subtitle 2"/>
          <p:cNvSpPr>
            <a:spLocks noGrp="1"/>
          </p:cNvSpPr>
          <p:nvPr>
            <p:ph type="subTitle" idx="1"/>
          </p:nvPr>
        </p:nvSpPr>
        <p:spPr>
          <a:xfrm>
            <a:off x="1828800" y="5509360"/>
            <a:ext cx="8534401" cy="764440"/>
          </a:xfrm>
        </p:spPr>
        <p:txBody>
          <a:bodyPr>
            <a:normAutofit/>
          </a:bodyPr>
          <a:lstStyle>
            <a:lvl1pPr marL="0" indent="0" algn="ctr">
              <a:buNone/>
              <a:defRPr lang="en-US" sz="2399" kern="1200" smtClean="0">
                <a:solidFill>
                  <a:schemeClr val="tx1">
                    <a:lumMod val="65000"/>
                    <a:lumOff val="35000"/>
                  </a:schemeClr>
                </a:solidFill>
                <a:latin typeface="+mj-lt"/>
                <a:ea typeface="+mj-ea"/>
                <a:cs typeface="+mj-cs"/>
              </a:defRPr>
            </a:lvl1pPr>
            <a:lvl2pPr marL="609397" indent="0" algn="ctr">
              <a:buNone/>
              <a:defRPr>
                <a:solidFill>
                  <a:schemeClr val="tx1">
                    <a:tint val="75000"/>
                  </a:schemeClr>
                </a:solidFill>
              </a:defRPr>
            </a:lvl2pPr>
            <a:lvl3pPr marL="1218794" indent="0" algn="ctr">
              <a:buNone/>
              <a:defRPr>
                <a:solidFill>
                  <a:schemeClr val="tx1">
                    <a:tint val="75000"/>
                  </a:schemeClr>
                </a:solidFill>
              </a:defRPr>
            </a:lvl3pPr>
            <a:lvl4pPr marL="1828191" indent="0" algn="ctr">
              <a:buNone/>
              <a:defRPr>
                <a:solidFill>
                  <a:schemeClr val="tx1">
                    <a:tint val="75000"/>
                  </a:schemeClr>
                </a:solidFill>
              </a:defRPr>
            </a:lvl4pPr>
            <a:lvl5pPr marL="2437588" indent="0" algn="ctr">
              <a:buNone/>
              <a:defRPr>
                <a:solidFill>
                  <a:schemeClr val="tx1">
                    <a:tint val="75000"/>
                  </a:schemeClr>
                </a:solidFill>
              </a:defRPr>
            </a:lvl5pPr>
            <a:lvl6pPr marL="3046985" indent="0" algn="ctr">
              <a:buNone/>
              <a:defRPr>
                <a:solidFill>
                  <a:schemeClr val="tx1">
                    <a:tint val="75000"/>
                  </a:schemeClr>
                </a:solidFill>
              </a:defRPr>
            </a:lvl6pPr>
            <a:lvl7pPr marL="3656382" indent="0" algn="ctr">
              <a:buNone/>
              <a:defRPr>
                <a:solidFill>
                  <a:schemeClr val="tx1">
                    <a:tint val="75000"/>
                  </a:schemeClr>
                </a:solidFill>
              </a:defRPr>
            </a:lvl7pPr>
            <a:lvl8pPr marL="4265777" indent="0" algn="ctr">
              <a:buNone/>
              <a:defRPr>
                <a:solidFill>
                  <a:schemeClr val="tx1">
                    <a:tint val="75000"/>
                  </a:schemeClr>
                </a:solidFill>
              </a:defRPr>
            </a:lvl8pPr>
            <a:lvl9pPr marL="487517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158180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22" indent="0" algn="ctr">
              <a:buNone/>
              <a:defRPr>
                <a:solidFill>
                  <a:schemeClr val="tx1">
                    <a:tint val="75000"/>
                  </a:schemeClr>
                </a:solidFill>
              </a:defRPr>
            </a:lvl2pPr>
            <a:lvl3pPr marL="1218845" indent="0" algn="ctr">
              <a:buNone/>
              <a:defRPr>
                <a:solidFill>
                  <a:schemeClr val="tx1">
                    <a:tint val="75000"/>
                  </a:schemeClr>
                </a:solidFill>
              </a:defRPr>
            </a:lvl3pPr>
            <a:lvl4pPr marL="1828267" indent="0" algn="ctr">
              <a:buNone/>
              <a:defRPr>
                <a:solidFill>
                  <a:schemeClr val="tx1">
                    <a:tint val="75000"/>
                  </a:schemeClr>
                </a:solidFill>
              </a:defRPr>
            </a:lvl4pPr>
            <a:lvl5pPr marL="2437689" indent="0" algn="ctr">
              <a:buNone/>
              <a:defRPr>
                <a:solidFill>
                  <a:schemeClr val="tx1">
                    <a:tint val="75000"/>
                  </a:schemeClr>
                </a:solidFill>
              </a:defRPr>
            </a:lvl5pPr>
            <a:lvl6pPr marL="3047111" indent="0" algn="ctr">
              <a:buNone/>
              <a:defRPr>
                <a:solidFill>
                  <a:schemeClr val="tx1">
                    <a:tint val="75000"/>
                  </a:schemeClr>
                </a:solidFill>
              </a:defRPr>
            </a:lvl6pPr>
            <a:lvl7pPr marL="3656534" indent="0" algn="ctr">
              <a:buNone/>
              <a:defRPr>
                <a:solidFill>
                  <a:schemeClr val="tx1">
                    <a:tint val="75000"/>
                  </a:schemeClr>
                </a:solidFill>
              </a:defRPr>
            </a:lvl7pPr>
            <a:lvl8pPr marL="4265955" indent="0" algn="ctr">
              <a:buNone/>
              <a:defRPr>
                <a:solidFill>
                  <a:schemeClr val="tx1">
                    <a:tint val="75000"/>
                  </a:schemeClr>
                </a:solidFill>
              </a:defRPr>
            </a:lvl8pPr>
            <a:lvl9pPr marL="48753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4854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54495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32"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6">
                <a:solidFill>
                  <a:schemeClr val="tx1">
                    <a:tint val="75000"/>
                  </a:schemeClr>
                </a:solidFill>
              </a:defRPr>
            </a:lvl1pPr>
            <a:lvl2pPr marL="609422" indent="0">
              <a:buNone/>
              <a:defRPr sz="2399">
                <a:solidFill>
                  <a:schemeClr val="tx1">
                    <a:tint val="75000"/>
                  </a:schemeClr>
                </a:solidFill>
              </a:defRPr>
            </a:lvl2pPr>
            <a:lvl3pPr marL="1218845" indent="0">
              <a:buNone/>
              <a:defRPr sz="2133">
                <a:solidFill>
                  <a:schemeClr val="tx1">
                    <a:tint val="75000"/>
                  </a:schemeClr>
                </a:solidFill>
              </a:defRPr>
            </a:lvl3pPr>
            <a:lvl4pPr marL="1828267" indent="0">
              <a:buNone/>
              <a:defRPr sz="1866">
                <a:solidFill>
                  <a:schemeClr val="tx1">
                    <a:tint val="75000"/>
                  </a:schemeClr>
                </a:solidFill>
              </a:defRPr>
            </a:lvl4pPr>
            <a:lvl5pPr marL="2437689" indent="0">
              <a:buNone/>
              <a:defRPr sz="1866">
                <a:solidFill>
                  <a:schemeClr val="tx1">
                    <a:tint val="75000"/>
                  </a:schemeClr>
                </a:solidFill>
              </a:defRPr>
            </a:lvl5pPr>
            <a:lvl6pPr marL="3047111" indent="0">
              <a:buNone/>
              <a:defRPr sz="1866">
                <a:solidFill>
                  <a:schemeClr val="tx1">
                    <a:tint val="75000"/>
                  </a:schemeClr>
                </a:solidFill>
              </a:defRPr>
            </a:lvl6pPr>
            <a:lvl7pPr marL="3656534" indent="0">
              <a:buNone/>
              <a:defRPr sz="1866">
                <a:solidFill>
                  <a:schemeClr val="tx1">
                    <a:tint val="75000"/>
                  </a:schemeClr>
                </a:solidFill>
              </a:defRPr>
            </a:lvl7pPr>
            <a:lvl8pPr marL="4265955" indent="0">
              <a:buNone/>
              <a:defRPr sz="1866">
                <a:solidFill>
                  <a:schemeClr val="tx1">
                    <a:tint val="75000"/>
                  </a:schemeClr>
                </a:solidFill>
              </a:defRPr>
            </a:lvl8pPr>
            <a:lvl9pPr marL="4875378" indent="0">
              <a:buNone/>
              <a:defRPr sz="186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774572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18853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199" b="1"/>
            </a:lvl1pPr>
            <a:lvl2pPr marL="609422" indent="0">
              <a:buNone/>
              <a:defRPr sz="2666" b="1"/>
            </a:lvl2pPr>
            <a:lvl3pPr marL="1218845" indent="0">
              <a:buNone/>
              <a:defRPr sz="2399" b="1"/>
            </a:lvl3pPr>
            <a:lvl4pPr marL="1828267" indent="0">
              <a:buNone/>
              <a:defRPr sz="2133" b="1"/>
            </a:lvl4pPr>
            <a:lvl5pPr marL="2437689" indent="0">
              <a:buNone/>
              <a:defRPr sz="2133" b="1"/>
            </a:lvl5pPr>
            <a:lvl6pPr marL="3047111" indent="0">
              <a:buNone/>
              <a:defRPr sz="2133" b="1"/>
            </a:lvl6pPr>
            <a:lvl7pPr marL="3656534" indent="0">
              <a:buNone/>
              <a:defRPr sz="2133" b="1"/>
            </a:lvl7pPr>
            <a:lvl8pPr marL="4265955" indent="0">
              <a:buNone/>
              <a:defRPr sz="2133" b="1"/>
            </a:lvl8pPr>
            <a:lvl9pPr marL="48753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4"/>
            <a:ext cx="5389033" cy="639763"/>
          </a:xfrm>
        </p:spPr>
        <p:txBody>
          <a:bodyPr anchor="b"/>
          <a:lstStyle>
            <a:lvl1pPr marL="0" indent="0">
              <a:buNone/>
              <a:defRPr sz="3199" b="1"/>
            </a:lvl1pPr>
            <a:lvl2pPr marL="609422" indent="0">
              <a:buNone/>
              <a:defRPr sz="2666" b="1"/>
            </a:lvl2pPr>
            <a:lvl3pPr marL="1218845" indent="0">
              <a:buNone/>
              <a:defRPr sz="2399" b="1"/>
            </a:lvl3pPr>
            <a:lvl4pPr marL="1828267" indent="0">
              <a:buNone/>
              <a:defRPr sz="2133" b="1"/>
            </a:lvl4pPr>
            <a:lvl5pPr marL="2437689" indent="0">
              <a:buNone/>
              <a:defRPr sz="2133" b="1"/>
            </a:lvl5pPr>
            <a:lvl6pPr marL="3047111" indent="0">
              <a:buNone/>
              <a:defRPr sz="2133" b="1"/>
            </a:lvl6pPr>
            <a:lvl7pPr marL="3656534" indent="0">
              <a:buNone/>
              <a:defRPr sz="2133" b="1"/>
            </a:lvl7pPr>
            <a:lvl8pPr marL="4265955" indent="0">
              <a:buNone/>
              <a:defRPr sz="2133" b="1"/>
            </a:lvl8pPr>
            <a:lvl9pPr marL="48753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380410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3037293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614957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049085" name="Title 1"/>
          <p:cNvSpPr>
            <a:spLocks noGrp="1"/>
          </p:cNvSpPr>
          <p:nvPr>
            <p:ph type="title"/>
          </p:nvPr>
        </p:nvSpPr>
        <p:spPr/>
        <p:txBody>
          <a:bodyPr/>
          <a:lstStyle/>
          <a:p>
            <a:r>
              <a:rPr lang="en-US"/>
              <a:t>Click to edit Master title style</a:t>
            </a:r>
          </a:p>
        </p:txBody>
      </p:sp>
      <p:sp>
        <p:nvSpPr>
          <p:cNvPr id="1049086" name="Date Placeholder 2"/>
          <p:cNvSpPr>
            <a:spLocks noGrp="1"/>
          </p:cNvSpPr>
          <p:nvPr>
            <p:ph type="dt" sz="half" idx="10"/>
          </p:nvPr>
        </p:nvSpPr>
        <p:spPr/>
        <p:txBody>
          <a:bodyPr/>
          <a:lstStyle/>
          <a:p>
            <a:fld id="{E678B23A-0579-4A25-9F8C-78E5A3656303}" type="datetimeFigureOut">
              <a:rPr lang="en-US" smtClean="0"/>
              <a:t>3/13/2023</a:t>
            </a:fld>
            <a:endParaRPr lang="en-US"/>
          </a:p>
        </p:txBody>
      </p:sp>
      <p:sp>
        <p:nvSpPr>
          <p:cNvPr id="1049087" name="Footer Placeholder 3"/>
          <p:cNvSpPr>
            <a:spLocks noGrp="1"/>
          </p:cNvSpPr>
          <p:nvPr>
            <p:ph type="ftr" sz="quarter" idx="11"/>
          </p:nvPr>
        </p:nvSpPr>
        <p:spPr/>
        <p:txBody>
          <a:bodyPr/>
          <a:lstStyle/>
          <a:p>
            <a:endParaRPr lang="en-US"/>
          </a:p>
        </p:txBody>
      </p:sp>
      <p:sp>
        <p:nvSpPr>
          <p:cNvPr id="1049088" name="Slide Number Placeholder 4"/>
          <p:cNvSpPr>
            <a:spLocks noGrp="1"/>
          </p:cNvSpPr>
          <p:nvPr>
            <p:ph type="sldNum" sz="quarter" idx="12"/>
          </p:nvPr>
        </p:nvSpPr>
        <p:spPr/>
        <p:txBody>
          <a:bodyPr/>
          <a:lstStyle/>
          <a:p>
            <a:fld id="{12E23B96-1AB6-4DC3-967E-E6BAEB81CC22}" type="slidenum">
              <a:rPr lang="en-US" smtClean="0"/>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55051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1"/>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4266"/>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866"/>
            </a:lvl1pPr>
            <a:lvl2pPr marL="609422" indent="0">
              <a:buNone/>
              <a:defRPr sz="1600"/>
            </a:lvl2pPr>
            <a:lvl3pPr marL="1218845" indent="0">
              <a:buNone/>
              <a:defRPr sz="1333"/>
            </a:lvl3pPr>
            <a:lvl4pPr marL="1828267" indent="0">
              <a:buNone/>
              <a:defRPr sz="1200"/>
            </a:lvl4pPr>
            <a:lvl5pPr marL="2437689" indent="0">
              <a:buNone/>
              <a:defRPr sz="1200"/>
            </a:lvl5pPr>
            <a:lvl6pPr marL="3047111" indent="0">
              <a:buNone/>
              <a:defRPr sz="1200"/>
            </a:lvl6pPr>
            <a:lvl7pPr marL="3656534" indent="0">
              <a:buNone/>
              <a:defRPr sz="1200"/>
            </a:lvl7pPr>
            <a:lvl8pPr marL="4265955" indent="0">
              <a:buNone/>
              <a:defRPr sz="1200"/>
            </a:lvl8pPr>
            <a:lvl9pPr marL="48753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12334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9"/>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266"/>
            </a:lvl1pPr>
            <a:lvl2pPr marL="609422" indent="0">
              <a:buNone/>
              <a:defRPr sz="3732"/>
            </a:lvl2pPr>
            <a:lvl3pPr marL="1218845" indent="0">
              <a:buNone/>
              <a:defRPr sz="3199"/>
            </a:lvl3pPr>
            <a:lvl4pPr marL="1828267" indent="0">
              <a:buNone/>
              <a:defRPr sz="2666"/>
            </a:lvl4pPr>
            <a:lvl5pPr marL="2437689" indent="0">
              <a:buNone/>
              <a:defRPr sz="2666"/>
            </a:lvl5pPr>
            <a:lvl6pPr marL="3047111" indent="0">
              <a:buNone/>
              <a:defRPr sz="2666"/>
            </a:lvl6pPr>
            <a:lvl7pPr marL="3656534" indent="0">
              <a:buNone/>
              <a:defRPr sz="2666"/>
            </a:lvl7pPr>
            <a:lvl8pPr marL="4265955" indent="0">
              <a:buNone/>
              <a:defRPr sz="2666"/>
            </a:lvl8pPr>
            <a:lvl9pPr marL="4875378" indent="0">
              <a:buNone/>
              <a:defRPr sz="2666"/>
            </a:lvl9pPr>
          </a:lstStyle>
          <a:p>
            <a:endParaRPr lang="en-US"/>
          </a:p>
        </p:txBody>
      </p:sp>
      <p:sp>
        <p:nvSpPr>
          <p:cNvPr id="4" name="Text Placeholder 3"/>
          <p:cNvSpPr>
            <a:spLocks noGrp="1"/>
          </p:cNvSpPr>
          <p:nvPr>
            <p:ph type="body" sz="half" idx="2"/>
          </p:nvPr>
        </p:nvSpPr>
        <p:spPr>
          <a:xfrm>
            <a:off x="2389718" y="5367340"/>
            <a:ext cx="7315200" cy="804863"/>
          </a:xfrm>
        </p:spPr>
        <p:txBody>
          <a:bodyPr/>
          <a:lstStyle>
            <a:lvl1pPr marL="0" indent="0">
              <a:buNone/>
              <a:defRPr sz="1866"/>
            </a:lvl1pPr>
            <a:lvl2pPr marL="609422" indent="0">
              <a:buNone/>
              <a:defRPr sz="1600"/>
            </a:lvl2pPr>
            <a:lvl3pPr marL="1218845" indent="0">
              <a:buNone/>
              <a:defRPr sz="1333"/>
            </a:lvl3pPr>
            <a:lvl4pPr marL="1828267" indent="0">
              <a:buNone/>
              <a:defRPr sz="1200"/>
            </a:lvl4pPr>
            <a:lvl5pPr marL="2437689" indent="0">
              <a:buNone/>
              <a:defRPr sz="1200"/>
            </a:lvl5pPr>
            <a:lvl6pPr marL="3047111" indent="0">
              <a:buNone/>
              <a:defRPr sz="1200"/>
            </a:lvl6pPr>
            <a:lvl7pPr marL="3656534" indent="0">
              <a:buNone/>
              <a:defRPr sz="1200"/>
            </a:lvl7pPr>
            <a:lvl8pPr marL="4265955" indent="0">
              <a:buNone/>
              <a:defRPr sz="1200"/>
            </a:lvl8pPr>
            <a:lvl9pPr marL="48753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788029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026420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05416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3/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866">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10923646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_Title Only">
    <p:bg>
      <p:bgPr>
        <a:gradFill flip="none" rotWithShape="1">
          <a:gsLst>
            <a:gs pos="81000">
              <a:schemeClr val="bg1">
                <a:lumMod val="95000"/>
              </a:schemeClr>
            </a:gs>
            <a:gs pos="0">
              <a:schemeClr val="bg1"/>
            </a:gs>
            <a:gs pos="100000">
              <a:schemeClr val="bg1">
                <a:lumMod val="95000"/>
              </a:schemeClr>
            </a:gs>
          </a:gsLst>
          <a:lin ang="54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42"/>
            <a:ext cx="6705600" cy="711081"/>
          </a:xfrm>
        </p:spPr>
        <p:txBody>
          <a:bodyPr>
            <a:noAutofit/>
          </a:bodyPr>
          <a:lstStyle>
            <a:lvl1pPr>
              <a:defRPr sz="3599"/>
            </a:lvl1pPr>
          </a:lstStyle>
          <a:p>
            <a:r>
              <a:rPr lang="en-US" dirty="0"/>
              <a:t>Click to edit Master title style</a:t>
            </a:r>
          </a:p>
        </p:txBody>
      </p:sp>
      <p:sp>
        <p:nvSpPr>
          <p:cNvPr id="3" name="Date Placeholder 2"/>
          <p:cNvSpPr>
            <a:spLocks noGrp="1"/>
          </p:cNvSpPr>
          <p:nvPr>
            <p:ph type="dt" sz="half" idx="10"/>
          </p:nvPr>
        </p:nvSpPr>
        <p:spPr/>
        <p:txBody>
          <a:bodyPr/>
          <a:lstStyle/>
          <a:p>
            <a:fld id="{6204E2B0-FEF2-4C8F-90A4-46C9D72643E3}" type="datetime1">
              <a:rPr lang="en-US" smtClean="0"/>
              <a:t>3/13/2023</a:t>
            </a:fld>
            <a:endParaRPr lang="en-US"/>
          </a:p>
        </p:txBody>
      </p:sp>
      <p:sp>
        <p:nvSpPr>
          <p:cNvPr id="4" name="Footer Placeholder 3"/>
          <p:cNvSpPr>
            <a:spLocks noGrp="1"/>
          </p:cNvSpPr>
          <p:nvPr>
            <p:ph type="ftr" sz="quarter" idx="11"/>
          </p:nvPr>
        </p:nvSpPr>
        <p:spPr/>
        <p:txBody>
          <a:bodyPr/>
          <a:lstStyle/>
          <a:p>
            <a:r>
              <a:rPr lang="en-US"/>
              <a:t>SlideModel.com</a:t>
            </a:r>
          </a:p>
        </p:txBody>
      </p:sp>
      <p:sp>
        <p:nvSpPr>
          <p:cNvPr id="5" name="Slide Number Placeholder 4"/>
          <p:cNvSpPr>
            <a:spLocks noGrp="1"/>
          </p:cNvSpPr>
          <p:nvPr>
            <p:ph type="sldNum" sz="quarter" idx="12"/>
          </p:nvPr>
        </p:nvSpPr>
        <p:spPr>
          <a:xfrm>
            <a:off x="11430000" y="6356354"/>
            <a:ext cx="762001" cy="365125"/>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0">
            <a:noFill/>
            <a:prstDash val="solid"/>
            <a:round/>
            <a:headEnd/>
            <a:tailEnd/>
          </a:ln>
        </p:spPr>
        <p:txBody>
          <a:bodyPr vert="horz" wrap="square" lIns="0" tIns="91440" rIns="0" bIns="91440" numCol="1" anchor="ctr" anchorCtr="1" compatLnSpc="1">
            <a:prstTxWarp prst="textNoShape">
              <a:avLst/>
            </a:prstTxWarp>
          </a:bodyPr>
          <a:lstStyle>
            <a:lvl1pPr algn="r">
              <a:defRPr lang="en-US" sz="1400" kern="0" smtClean="0">
                <a:solidFill>
                  <a:schemeClr val="bg1"/>
                </a:solidFill>
                <a:latin typeface="Arial" pitchFamily="34" charset="0"/>
                <a:cs typeface="Arial" pitchFamily="34" charset="0"/>
              </a:defRPr>
            </a:lvl1pPr>
          </a:lstStyle>
          <a:p>
            <a:fld id="{96E69268-9C8B-4EBF-A9EE-DC5DC2D48DC3}" type="slidenum">
              <a:rPr lang="es-UY" smtClean="0"/>
              <a:pPr/>
              <a:t>‹#›</a:t>
            </a:fld>
            <a:endParaRPr lang="es-UY" dirty="0"/>
          </a:p>
        </p:txBody>
      </p:sp>
      <p:sp>
        <p:nvSpPr>
          <p:cNvPr id="8" name="Text Placeholder 8"/>
          <p:cNvSpPr>
            <a:spLocks noGrp="1"/>
          </p:cNvSpPr>
          <p:nvPr>
            <p:ph type="body" sz="quarter" idx="13" hasCustomPrompt="1"/>
          </p:nvPr>
        </p:nvSpPr>
        <p:spPr>
          <a:xfrm>
            <a:off x="7480301" y="362139"/>
            <a:ext cx="4114800" cy="533400"/>
          </a:xfrm>
        </p:spPr>
        <p:txBody>
          <a:bodyPr anchor="ctr">
            <a:noAutofit/>
          </a:bodyPr>
          <a:lstStyle>
            <a:lvl1pPr marL="0" indent="0" algn="r">
              <a:buNone/>
              <a:defRPr sz="1999" baseline="0">
                <a:solidFill>
                  <a:schemeClr val="tx1">
                    <a:lumMod val="50000"/>
                    <a:lumOff val="50000"/>
                  </a:schemeClr>
                </a:solidFill>
              </a:defRPr>
            </a:lvl1pPr>
          </a:lstStyle>
          <a:p>
            <a:pPr lvl="0"/>
            <a:r>
              <a:rPr lang="en-US" dirty="0"/>
              <a:t>Breadcrumb 1 &gt; Breadcrumb 2</a:t>
            </a:r>
            <a:endParaRPr lang="es-UY" dirty="0"/>
          </a:p>
        </p:txBody>
      </p:sp>
    </p:spTree>
    <p:extLst>
      <p:ext uri="{BB962C8B-B14F-4D97-AF65-F5344CB8AC3E}">
        <p14:creationId xmlns:p14="http://schemas.microsoft.com/office/powerpoint/2010/main" val="19611539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ext Left Clipart Right">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3/1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
        <p:nvSpPr>
          <p:cNvPr id="9" name="Content Placeholder 7"/>
          <p:cNvSpPr>
            <a:spLocks noGrp="1"/>
          </p:cNvSpPr>
          <p:nvPr>
            <p:ph sz="quarter" idx="13" hasCustomPrompt="1"/>
          </p:nvPr>
        </p:nvSpPr>
        <p:spPr>
          <a:xfrm>
            <a:off x="684391" y="1066800"/>
            <a:ext cx="4192092" cy="762000"/>
          </a:xfrm>
        </p:spPr>
        <p:txBody>
          <a:bodyPr>
            <a:noAutofit/>
          </a:bodyPr>
          <a:lstStyle>
            <a:lvl1pPr>
              <a:defRPr sz="3999" b="1"/>
            </a:lvl1pPr>
          </a:lstStyle>
          <a:p>
            <a:pPr lvl="0"/>
            <a:r>
              <a:rPr lang="en-US" dirty="0"/>
              <a:t>CLICK TO EDIT</a:t>
            </a:r>
          </a:p>
        </p:txBody>
      </p:sp>
      <p:sp>
        <p:nvSpPr>
          <p:cNvPr id="12" name="Content Placeholder 10"/>
          <p:cNvSpPr>
            <a:spLocks noGrp="1"/>
          </p:cNvSpPr>
          <p:nvPr>
            <p:ph sz="quarter" idx="14"/>
          </p:nvPr>
        </p:nvSpPr>
        <p:spPr>
          <a:xfrm>
            <a:off x="684391" y="2057400"/>
            <a:ext cx="4192092" cy="381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86697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solidFill>
                  <a:srgbClr val="080808">
                    <a:tint val="75000"/>
                  </a:srgbClr>
                </a:solidFill>
              </a:rPr>
              <a:pPr/>
              <a:t>3/13/2023</a:t>
            </a:fld>
            <a:endParaRPr lang="en-US">
              <a:solidFill>
                <a:srgbClr val="080808">
                  <a:tint val="75000"/>
                </a:srgbClr>
              </a:solidFill>
            </a:endParaRPr>
          </a:p>
        </p:txBody>
      </p:sp>
      <p:sp>
        <p:nvSpPr>
          <p:cNvPr id="4" name="Footer Placeholder 3"/>
          <p:cNvSpPr>
            <a:spLocks noGrp="1"/>
          </p:cNvSpPr>
          <p:nvPr>
            <p:ph type="ftr" sz="quarter" idx="11"/>
          </p:nvPr>
        </p:nvSpPr>
        <p:spPr/>
        <p:txBody>
          <a:bodyPr/>
          <a:lstStyle/>
          <a:p>
            <a:endParaRPr lang="en-US">
              <a:solidFill>
                <a:srgbClr val="080808">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80808">
                    <a:tint val="75000"/>
                  </a:srgbClr>
                </a:solidFill>
              </a:rPr>
              <a:pPr/>
              <a:t>‹#›</a:t>
            </a:fld>
            <a:endParaRPr lang="en-US">
              <a:solidFill>
                <a:srgbClr val="080808">
                  <a:tint val="75000"/>
                </a:srgbClr>
              </a:solidFill>
            </a:endParaRPr>
          </a:p>
        </p:txBody>
      </p:sp>
    </p:spTree>
    <p:extLst>
      <p:ext uri="{BB962C8B-B14F-4D97-AF65-F5344CB8AC3E}">
        <p14:creationId xmlns:p14="http://schemas.microsoft.com/office/powerpoint/2010/main" val="3891889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48630" name="Date Placeholder 1"/>
          <p:cNvSpPr>
            <a:spLocks noGrp="1"/>
          </p:cNvSpPr>
          <p:nvPr>
            <p:ph type="dt" sz="half" idx="10"/>
          </p:nvPr>
        </p:nvSpPr>
        <p:spPr/>
        <p:txBody>
          <a:bodyPr/>
          <a:lstStyle/>
          <a:p>
            <a:fld id="{E678B23A-0579-4A25-9F8C-78E5A3656303}" type="datetimeFigureOut">
              <a:rPr lang="en-US" smtClean="0"/>
              <a:t>3/13/2023</a:t>
            </a:fld>
            <a:endParaRPr lang="en-US"/>
          </a:p>
        </p:txBody>
      </p:sp>
      <p:sp>
        <p:nvSpPr>
          <p:cNvPr id="1048631" name="Footer Placeholder 2"/>
          <p:cNvSpPr>
            <a:spLocks noGrp="1"/>
          </p:cNvSpPr>
          <p:nvPr>
            <p:ph type="ftr" sz="quarter" idx="11"/>
          </p:nvPr>
        </p:nvSpPr>
        <p:spPr/>
        <p:txBody>
          <a:bodyPr/>
          <a:lstStyle/>
          <a:p>
            <a:endParaRPr lang="en-US"/>
          </a:p>
        </p:txBody>
      </p:sp>
      <p:sp>
        <p:nvSpPr>
          <p:cNvPr id="1048632" name="Slide Number Placeholder 3"/>
          <p:cNvSpPr>
            <a:spLocks noGrp="1"/>
          </p:cNvSpPr>
          <p:nvPr>
            <p:ph type="sldNum" sz="quarter" idx="12"/>
          </p:nvPr>
        </p:nvSpPr>
        <p:spPr/>
        <p:txBody>
          <a:bodyPr/>
          <a:lstStyle/>
          <a:p>
            <a:fld id="{12E23B96-1AB6-4DC3-967E-E6BAEB81CC22}" type="slidenum">
              <a:rPr lang="en-US" smtClean="0"/>
              <a:t>‹#›</a:t>
            </a:fld>
            <a:endParaRPr lang="en-US"/>
          </a:p>
        </p:txBody>
      </p:sp>
      <p:sp>
        <p:nvSpPr>
          <p:cNvPr id="1048633" name="Rectangle 5"/>
          <p:cNvSpPr/>
          <p:nvPr userDrawn="1"/>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7165" name="Picture 6"/>
          <p:cNvPicPr>
            <a:picLocks noChangeAspect="1"/>
          </p:cNvPicPr>
          <p:nvPr userDrawn="1"/>
        </p:nvPicPr>
        <p:blipFill rotWithShape="1">
          <a:blip r:embed="rId2"/>
          <a:srcRect t="22084" b="36867"/>
          <a:stretch>
            <a:fillRect/>
          </a:stretch>
        </p:blipFill>
        <p:spPr>
          <a:xfrm>
            <a:off x="51576" y="6309196"/>
            <a:ext cx="1492186" cy="285798"/>
          </a:xfrm>
          <a:prstGeom prst="rect">
            <a:avLst/>
          </a:prstGeom>
          <a:effectLst>
            <a:reflection blurRad="6350" stA="50000" endA="300" endPos="65000" dir="5400000" sy="-100000" algn="bl" rotWithShape="0"/>
          </a:effectLst>
        </p:spPr>
      </p:pic>
      <p:pic>
        <p:nvPicPr>
          <p:cNvPr id="2097166" name="Picture 7"/>
          <p:cNvPicPr>
            <a:picLocks noChangeAspect="1"/>
          </p:cNvPicPr>
          <p:nvPr userDrawn="1"/>
        </p:nvPicPr>
        <p:blipFill rotWithShape="1">
          <a:blip r:embed="rId3" cstate="print"/>
          <a:srcRect l="16638" t="17440" r="19607" b="5712"/>
          <a:stretch>
            <a:fillRect/>
          </a:stretch>
        </p:blipFill>
        <p:spPr>
          <a:xfrm>
            <a:off x="11516264" y="6206484"/>
            <a:ext cx="453493" cy="514991"/>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5_Blank">
    <p:bg>
      <p:bgPr>
        <a:blipFill dpi="0" rotWithShape="1">
          <a:blip r:embed="rId2">
            <a:alphaModFix amt="10000"/>
            <a:lum/>
          </a:blip>
          <a:srcRect/>
          <a:stretch>
            <a:fillRect l="-1000" r="-1000"/>
          </a:stretch>
        </a:blipFill>
        <a:effectLst/>
      </p:bgPr>
    </p:bg>
    <p:spTree>
      <p:nvGrpSpPr>
        <p:cNvPr id="1" name=""/>
        <p:cNvGrpSpPr/>
        <p:nvPr/>
      </p:nvGrpSpPr>
      <p:grpSpPr>
        <a:xfrm>
          <a:off x="0" y="0"/>
          <a:ext cx="0" cy="0"/>
          <a:chOff x="0" y="0"/>
          <a:chExt cx="0" cy="0"/>
        </a:xfrm>
      </p:grpSpPr>
      <p:sp>
        <p:nvSpPr>
          <p:cNvPr id="1048655" name="Date Placeholder 1"/>
          <p:cNvSpPr>
            <a:spLocks noGrp="1"/>
          </p:cNvSpPr>
          <p:nvPr>
            <p:ph type="dt" sz="half" idx="10"/>
          </p:nvPr>
        </p:nvSpPr>
        <p:spPr/>
        <p:txBody>
          <a:bodyPr/>
          <a:lstStyle/>
          <a:p>
            <a:fld id="{E678B23A-0579-4A25-9F8C-78E5A3656303}" type="datetimeFigureOut">
              <a:rPr lang="en-US" smtClean="0"/>
              <a:t>3/13/2023</a:t>
            </a:fld>
            <a:endParaRPr lang="en-US"/>
          </a:p>
        </p:txBody>
      </p:sp>
      <p:sp>
        <p:nvSpPr>
          <p:cNvPr id="1048656" name="Footer Placeholder 2"/>
          <p:cNvSpPr>
            <a:spLocks noGrp="1"/>
          </p:cNvSpPr>
          <p:nvPr>
            <p:ph type="ftr" sz="quarter" idx="11"/>
          </p:nvPr>
        </p:nvSpPr>
        <p:spPr/>
        <p:txBody>
          <a:bodyPr/>
          <a:lstStyle/>
          <a:p>
            <a:endParaRPr lang="en-US"/>
          </a:p>
        </p:txBody>
      </p:sp>
      <p:sp>
        <p:nvSpPr>
          <p:cNvPr id="1048657" name="Slide Number Placeholder 3"/>
          <p:cNvSpPr>
            <a:spLocks noGrp="1"/>
          </p:cNvSpPr>
          <p:nvPr>
            <p:ph type="sldNum" sz="quarter" idx="12"/>
          </p:nvPr>
        </p:nvSpPr>
        <p:spPr/>
        <p:txBody>
          <a:bodyPr/>
          <a:lstStyle/>
          <a:p>
            <a:fld id="{12E23B96-1AB6-4DC3-967E-E6BAEB81CC22}" type="slidenum">
              <a:rPr lang="en-US" smtClean="0"/>
              <a:t>‹#›</a:t>
            </a:fld>
            <a:endParaRPr lang="en-US"/>
          </a:p>
        </p:txBody>
      </p:sp>
      <p:sp>
        <p:nvSpPr>
          <p:cNvPr id="1048658" name="Rectangle 5"/>
          <p:cNvSpPr/>
          <p:nvPr userDrawn="1"/>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7177" name="Picture 6"/>
          <p:cNvPicPr>
            <a:picLocks noChangeAspect="1"/>
          </p:cNvPicPr>
          <p:nvPr userDrawn="1"/>
        </p:nvPicPr>
        <p:blipFill rotWithShape="1">
          <a:blip r:embed="rId3"/>
          <a:srcRect t="22084" b="36867"/>
          <a:stretch>
            <a:fillRect/>
          </a:stretch>
        </p:blipFill>
        <p:spPr>
          <a:xfrm>
            <a:off x="51576" y="6309196"/>
            <a:ext cx="1492186" cy="285798"/>
          </a:xfrm>
          <a:prstGeom prst="rect">
            <a:avLst/>
          </a:prstGeom>
          <a:effectLst>
            <a:reflection blurRad="6350" stA="50000" endA="300" endPos="65000" dir="5400000" sy="-100000" algn="bl" rotWithShape="0"/>
          </a:effectLst>
        </p:spPr>
      </p:pic>
      <p:pic>
        <p:nvPicPr>
          <p:cNvPr id="2097178" name="Picture 7"/>
          <p:cNvPicPr>
            <a:picLocks noChangeAspect="1"/>
          </p:cNvPicPr>
          <p:nvPr userDrawn="1"/>
        </p:nvPicPr>
        <p:blipFill rotWithShape="1">
          <a:blip r:embed="rId4" cstate="print"/>
          <a:srcRect l="16638" t="17440" r="19607" b="5712"/>
          <a:stretch>
            <a:fillRect/>
          </a:stretch>
        </p:blipFill>
        <p:spPr>
          <a:xfrm>
            <a:off x="11516264" y="6206484"/>
            <a:ext cx="453493" cy="514991"/>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1048967" name="Date Placeholder 1"/>
          <p:cNvSpPr>
            <a:spLocks noGrp="1"/>
          </p:cNvSpPr>
          <p:nvPr>
            <p:ph type="dt" sz="half" idx="10"/>
          </p:nvPr>
        </p:nvSpPr>
        <p:spPr/>
        <p:txBody>
          <a:bodyPr/>
          <a:lstStyle/>
          <a:p>
            <a:fld id="{E678B23A-0579-4A25-9F8C-78E5A3656303}" type="datetimeFigureOut">
              <a:rPr lang="en-US" smtClean="0"/>
              <a:t>3/13/2023</a:t>
            </a:fld>
            <a:endParaRPr lang="en-US"/>
          </a:p>
        </p:txBody>
      </p:sp>
      <p:sp>
        <p:nvSpPr>
          <p:cNvPr id="1048968" name="Footer Placeholder 2"/>
          <p:cNvSpPr>
            <a:spLocks noGrp="1"/>
          </p:cNvSpPr>
          <p:nvPr>
            <p:ph type="ftr" sz="quarter" idx="11"/>
          </p:nvPr>
        </p:nvSpPr>
        <p:spPr/>
        <p:txBody>
          <a:bodyPr/>
          <a:lstStyle/>
          <a:p>
            <a:endParaRPr lang="en-US"/>
          </a:p>
        </p:txBody>
      </p:sp>
      <p:sp>
        <p:nvSpPr>
          <p:cNvPr id="1048969" name="Slide Number Placeholder 3"/>
          <p:cNvSpPr>
            <a:spLocks noGrp="1"/>
          </p:cNvSpPr>
          <p:nvPr>
            <p:ph type="sldNum" sz="quarter" idx="12"/>
          </p:nvPr>
        </p:nvSpPr>
        <p:spPr/>
        <p:txBody>
          <a:bodyPr/>
          <a:lstStyle/>
          <a:p>
            <a:fld id="{12E23B96-1AB6-4DC3-967E-E6BAEB81CC22}" type="slidenum">
              <a:rPr lang="en-US" smtClean="0"/>
              <a:t>‹#›</a:t>
            </a:fld>
            <a:endParaRPr lang="en-US"/>
          </a:p>
        </p:txBody>
      </p:sp>
      <p:sp>
        <p:nvSpPr>
          <p:cNvPr id="1048970" name="Rectangle 5"/>
          <p:cNvSpPr/>
          <p:nvPr userDrawn="1"/>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7260" name="Picture 6"/>
          <p:cNvPicPr>
            <a:picLocks noChangeAspect="1"/>
          </p:cNvPicPr>
          <p:nvPr userDrawn="1"/>
        </p:nvPicPr>
        <p:blipFill rotWithShape="1">
          <a:blip r:embed="rId2"/>
          <a:srcRect t="22084" b="36867"/>
          <a:stretch>
            <a:fillRect/>
          </a:stretch>
        </p:blipFill>
        <p:spPr>
          <a:xfrm>
            <a:off x="51576" y="6309196"/>
            <a:ext cx="1492186" cy="285798"/>
          </a:xfrm>
          <a:prstGeom prst="rect">
            <a:avLst/>
          </a:prstGeom>
          <a:effectLst>
            <a:reflection blurRad="6350" stA="50000" endA="300" endPos="65000" dir="5400000" sy="-100000" algn="bl" rotWithShape="0"/>
          </a:effectLst>
        </p:spPr>
      </p:pic>
      <p:pic>
        <p:nvPicPr>
          <p:cNvPr id="2097261" name="Picture 7"/>
          <p:cNvPicPr>
            <a:picLocks noChangeAspect="1"/>
          </p:cNvPicPr>
          <p:nvPr userDrawn="1"/>
        </p:nvPicPr>
        <p:blipFill rotWithShape="1">
          <a:blip r:embed="rId3" cstate="print"/>
          <a:srcRect l="16638" t="17440" r="19607" b="5712"/>
          <a:stretch>
            <a:fillRect/>
          </a:stretch>
        </p:blipFill>
        <p:spPr>
          <a:xfrm>
            <a:off x="11516264" y="6206484"/>
            <a:ext cx="453493" cy="514991"/>
          </a:xfrm>
          <a:prstGeom prst="rect">
            <a:avLst/>
          </a:prstGeom>
        </p:spPr>
      </p:pic>
      <p:sp>
        <p:nvSpPr>
          <p:cNvPr id="1048971" name="Picture Placeholder 8"/>
          <p:cNvSpPr>
            <a:spLocks noGrp="1"/>
          </p:cNvSpPr>
          <p:nvPr>
            <p:ph type="pic" sz="quarter" idx="13"/>
          </p:nvPr>
        </p:nvSpPr>
        <p:spPr>
          <a:xfrm>
            <a:off x="407112" y="1136250"/>
            <a:ext cx="1136650" cy="1154112"/>
          </a:xfrm>
          <a:prstGeom prst="ellipse">
            <a:avLst/>
          </a:prstGeom>
        </p:spPr>
        <p:txBody>
          <a:bodyPr>
            <a:normAutofit/>
          </a:bodyPr>
          <a:lstStyle>
            <a:lvl1pPr>
              <a:defRPr sz="900"/>
            </a:lvl1pPr>
          </a:lstStyle>
          <a:p>
            <a:endParaRPr lang="en-US"/>
          </a:p>
        </p:txBody>
      </p:sp>
      <p:sp>
        <p:nvSpPr>
          <p:cNvPr id="1048972" name="Picture Placeholder 8"/>
          <p:cNvSpPr>
            <a:spLocks noGrp="1"/>
          </p:cNvSpPr>
          <p:nvPr>
            <p:ph type="pic" sz="quarter" idx="14"/>
          </p:nvPr>
        </p:nvSpPr>
        <p:spPr>
          <a:xfrm>
            <a:off x="407112" y="3699146"/>
            <a:ext cx="1136650" cy="1154112"/>
          </a:xfrm>
          <a:prstGeom prst="ellipse">
            <a:avLst/>
          </a:prstGeom>
        </p:spPr>
        <p:txBody>
          <a:bodyPr vert="horz" lIns="91440" tIns="45720" rIns="91440" bIns="45720" rtlCol="0">
            <a:normAutofit/>
          </a:bodyPr>
          <a:lstStyle>
            <a:lvl1pPr>
              <a:defRPr lang="en-US" sz="900"/>
            </a:lvl1pPr>
          </a:lstStyle>
          <a:p>
            <a:pPr lvl="0"/>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2.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8576"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048577"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48578"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78B23A-0579-4A25-9F8C-78E5A3656303}" type="datetimeFigureOut">
              <a:rPr lang="en-US" smtClean="0"/>
              <a:t>3/13/2023</a:t>
            </a:fld>
            <a:endParaRPr lang="en-US"/>
          </a:p>
        </p:txBody>
      </p:sp>
      <p:sp>
        <p:nvSpPr>
          <p:cNvPr id="1048579"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048580"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E23B96-1AB6-4DC3-967E-E6BAEB81CC22}"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7" r:id="rId48"/>
    <p:sldLayoutId id="2147483699" r:id="rId49"/>
    <p:sldLayoutId id="2147483700" r:id="rId50"/>
    <p:sldLayoutId id="2147483701" r:id="rId5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EEEEEE"/>
            </a:gs>
            <a:gs pos="67000">
              <a:schemeClr val="bg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1"/>
            <a:ext cx="10972801" cy="711081"/>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36" tIns="45718" rIns="91436" bIns="45718" rtlCol="0" anchor="ctr"/>
          <a:lstStyle>
            <a:lvl1pPr algn="l">
              <a:defRPr sz="1600">
                <a:solidFill>
                  <a:schemeClr val="tx1">
                    <a:tint val="75000"/>
                  </a:schemeClr>
                </a:solidFill>
              </a:defRPr>
            </a:lvl1pPr>
          </a:lstStyle>
          <a:p>
            <a:pPr defTabSz="1218895"/>
            <a:fld id="{FD1176A7-B091-469C-82C8-89C693043C40}" type="datetimeFigureOut">
              <a:rPr lang="en-US" smtClean="0">
                <a:solidFill>
                  <a:prstClr val="black">
                    <a:tint val="75000"/>
                  </a:prstClr>
                </a:solidFill>
              </a:rPr>
              <a:pPr defTabSz="1218895"/>
              <a:t>3/13/2023</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53"/>
            <a:ext cx="3860800" cy="365125"/>
          </a:xfrm>
          <a:prstGeom prst="rect">
            <a:avLst/>
          </a:prstGeom>
        </p:spPr>
        <p:txBody>
          <a:bodyPr vert="horz" lIns="91436" tIns="45718" rIns="91436" bIns="45718" rtlCol="0" anchor="ctr"/>
          <a:lstStyle>
            <a:lvl1pPr algn="ctr">
              <a:defRPr sz="1600">
                <a:solidFill>
                  <a:schemeClr val="tx1">
                    <a:tint val="75000"/>
                  </a:schemeClr>
                </a:solidFill>
              </a:defRPr>
            </a:lvl1pPr>
          </a:lstStyle>
          <a:p>
            <a:pPr defTabSz="1218895"/>
            <a:endParaRPr lang="en-US">
              <a:solidFill>
                <a:prstClr val="black">
                  <a:tint val="75000"/>
                </a:prstClr>
              </a:solidFill>
            </a:endParaRPr>
          </a:p>
        </p:txBody>
      </p:sp>
      <p:sp>
        <p:nvSpPr>
          <p:cNvPr id="6" name="Slide Number Placeholder 5"/>
          <p:cNvSpPr>
            <a:spLocks noGrp="1"/>
          </p:cNvSpPr>
          <p:nvPr>
            <p:ph type="sldNum" sz="quarter" idx="4"/>
          </p:nvPr>
        </p:nvSpPr>
        <p:spPr>
          <a:xfrm>
            <a:off x="8737602" y="6356353"/>
            <a:ext cx="2844800" cy="365125"/>
          </a:xfrm>
          <a:prstGeom prst="rect">
            <a:avLst/>
          </a:prstGeom>
        </p:spPr>
        <p:txBody>
          <a:bodyPr vert="horz" lIns="91436" tIns="45718" rIns="91436" bIns="45718" rtlCol="0" anchor="ctr"/>
          <a:lstStyle>
            <a:lvl1pPr algn="r">
              <a:defRPr sz="1600">
                <a:solidFill>
                  <a:schemeClr val="tx1">
                    <a:tint val="75000"/>
                  </a:schemeClr>
                </a:solidFill>
              </a:defRPr>
            </a:lvl1pPr>
          </a:lstStyle>
          <a:p>
            <a:pPr defTabSz="1218895"/>
            <a:fld id="{5939B1FA-81F2-4940-9AF3-5EAFB5D6669B}" type="slidenum">
              <a:rPr lang="en-US" smtClean="0">
                <a:solidFill>
                  <a:prstClr val="black">
                    <a:tint val="75000"/>
                  </a:prstClr>
                </a:solidFill>
              </a:rPr>
              <a:pPr defTabSz="1218895"/>
              <a:t>‹#›</a:t>
            </a:fld>
            <a:endParaRPr lang="en-US">
              <a:solidFill>
                <a:prstClr val="black">
                  <a:tint val="75000"/>
                </a:prstClr>
              </a:solidFill>
            </a:endParaRPr>
          </a:p>
        </p:txBody>
      </p:sp>
    </p:spTree>
    <p:extLst>
      <p:ext uri="{BB962C8B-B14F-4D97-AF65-F5344CB8AC3E}">
        <p14:creationId xmlns:p14="http://schemas.microsoft.com/office/powerpoint/2010/main" val="319568672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Lst>
  <p:txStyles>
    <p:titleStyle>
      <a:lvl1pPr algn="l" defTabSz="1218845" rtl="0" eaLnBrk="1" latinLnBrk="0" hangingPunct="1">
        <a:spcBef>
          <a:spcPct val="0"/>
        </a:spcBef>
        <a:buNone/>
        <a:defRPr sz="3199" kern="1200">
          <a:solidFill>
            <a:schemeClr val="tx1">
              <a:lumMod val="65000"/>
              <a:lumOff val="35000"/>
            </a:schemeClr>
          </a:solidFill>
          <a:latin typeface="+mj-lt"/>
          <a:ea typeface="+mj-ea"/>
          <a:cs typeface="+mj-cs"/>
        </a:defRPr>
      </a:lvl1pPr>
    </p:titleStyle>
    <p:bodyStyle>
      <a:lvl1pPr marL="457067" indent="-457067" algn="l" defTabSz="1218845" rtl="0" eaLnBrk="1" latinLnBrk="0" hangingPunct="1">
        <a:spcBef>
          <a:spcPct val="20000"/>
        </a:spcBef>
        <a:buFont typeface="Arial" pitchFamily="34" charset="0"/>
        <a:buChar char="•"/>
        <a:defRPr sz="3599" kern="1200">
          <a:solidFill>
            <a:schemeClr val="tx1"/>
          </a:solidFill>
          <a:latin typeface="+mj-lt"/>
          <a:ea typeface="+mn-ea"/>
          <a:cs typeface="+mn-cs"/>
        </a:defRPr>
      </a:lvl1pPr>
      <a:lvl2pPr marL="990311" indent="-380889" algn="l" defTabSz="1218845" rtl="0" eaLnBrk="1" latinLnBrk="0" hangingPunct="1">
        <a:spcBef>
          <a:spcPct val="20000"/>
        </a:spcBef>
        <a:buFont typeface="Arial" pitchFamily="34" charset="0"/>
        <a:buChar char="–"/>
        <a:defRPr sz="3199" kern="1200">
          <a:solidFill>
            <a:schemeClr val="tx1"/>
          </a:solidFill>
          <a:latin typeface="+mj-lt"/>
          <a:ea typeface="+mn-ea"/>
          <a:cs typeface="+mn-cs"/>
        </a:defRPr>
      </a:lvl2pPr>
      <a:lvl3pPr marL="1523555" indent="-304712" algn="l" defTabSz="1218845" rtl="0" eaLnBrk="1" latinLnBrk="0" hangingPunct="1">
        <a:spcBef>
          <a:spcPct val="20000"/>
        </a:spcBef>
        <a:buFont typeface="Arial" pitchFamily="34" charset="0"/>
        <a:buChar char="•"/>
        <a:defRPr sz="2399" kern="1200">
          <a:solidFill>
            <a:schemeClr val="tx1"/>
          </a:solidFill>
          <a:latin typeface="+mj-lt"/>
          <a:ea typeface="+mn-ea"/>
          <a:cs typeface="+mn-cs"/>
        </a:defRPr>
      </a:lvl3pPr>
      <a:lvl4pPr marL="2132979" indent="-304712" algn="l" defTabSz="1218845"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400" indent="-304712" algn="l" defTabSz="1218845"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1822"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244"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0666"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089" indent="-304712" algn="l" defTabSz="121884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845" rtl="0" eaLnBrk="1" latinLnBrk="0" hangingPunct="1">
        <a:defRPr sz="2399" kern="1200">
          <a:solidFill>
            <a:schemeClr val="tx1"/>
          </a:solidFill>
          <a:latin typeface="+mn-lt"/>
          <a:ea typeface="+mn-ea"/>
          <a:cs typeface="+mn-cs"/>
        </a:defRPr>
      </a:lvl1pPr>
      <a:lvl2pPr marL="609422" algn="l" defTabSz="1218845" rtl="0" eaLnBrk="1" latinLnBrk="0" hangingPunct="1">
        <a:defRPr sz="2399" kern="1200">
          <a:solidFill>
            <a:schemeClr val="tx1"/>
          </a:solidFill>
          <a:latin typeface="+mn-lt"/>
          <a:ea typeface="+mn-ea"/>
          <a:cs typeface="+mn-cs"/>
        </a:defRPr>
      </a:lvl2pPr>
      <a:lvl3pPr marL="1218845" algn="l" defTabSz="1218845" rtl="0" eaLnBrk="1" latinLnBrk="0" hangingPunct="1">
        <a:defRPr sz="2399" kern="1200">
          <a:solidFill>
            <a:schemeClr val="tx1"/>
          </a:solidFill>
          <a:latin typeface="+mn-lt"/>
          <a:ea typeface="+mn-ea"/>
          <a:cs typeface="+mn-cs"/>
        </a:defRPr>
      </a:lvl3pPr>
      <a:lvl4pPr marL="1828267" algn="l" defTabSz="1218845" rtl="0" eaLnBrk="1" latinLnBrk="0" hangingPunct="1">
        <a:defRPr sz="2399" kern="1200">
          <a:solidFill>
            <a:schemeClr val="tx1"/>
          </a:solidFill>
          <a:latin typeface="+mn-lt"/>
          <a:ea typeface="+mn-ea"/>
          <a:cs typeface="+mn-cs"/>
        </a:defRPr>
      </a:lvl4pPr>
      <a:lvl5pPr marL="2437689" algn="l" defTabSz="1218845" rtl="0" eaLnBrk="1" latinLnBrk="0" hangingPunct="1">
        <a:defRPr sz="2399" kern="1200">
          <a:solidFill>
            <a:schemeClr val="tx1"/>
          </a:solidFill>
          <a:latin typeface="+mn-lt"/>
          <a:ea typeface="+mn-ea"/>
          <a:cs typeface="+mn-cs"/>
        </a:defRPr>
      </a:lvl5pPr>
      <a:lvl6pPr marL="3047111" algn="l" defTabSz="1218845" rtl="0" eaLnBrk="1" latinLnBrk="0" hangingPunct="1">
        <a:defRPr sz="2399" kern="1200">
          <a:solidFill>
            <a:schemeClr val="tx1"/>
          </a:solidFill>
          <a:latin typeface="+mn-lt"/>
          <a:ea typeface="+mn-ea"/>
          <a:cs typeface="+mn-cs"/>
        </a:defRPr>
      </a:lvl6pPr>
      <a:lvl7pPr marL="3656534" algn="l" defTabSz="1218845" rtl="0" eaLnBrk="1" latinLnBrk="0" hangingPunct="1">
        <a:defRPr sz="2399" kern="1200">
          <a:solidFill>
            <a:schemeClr val="tx1"/>
          </a:solidFill>
          <a:latin typeface="+mn-lt"/>
          <a:ea typeface="+mn-ea"/>
          <a:cs typeface="+mn-cs"/>
        </a:defRPr>
      </a:lvl7pPr>
      <a:lvl8pPr marL="4265955" algn="l" defTabSz="1218845" rtl="0" eaLnBrk="1" latinLnBrk="0" hangingPunct="1">
        <a:defRPr sz="2399" kern="1200">
          <a:solidFill>
            <a:schemeClr val="tx1"/>
          </a:solidFill>
          <a:latin typeface="+mn-lt"/>
          <a:ea typeface="+mn-ea"/>
          <a:cs typeface="+mn-cs"/>
        </a:defRPr>
      </a:lvl8pPr>
      <a:lvl9pPr marL="4875378" algn="l" defTabSz="1218845"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Layout" Target="../slideLayouts/slideLayout16.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image" Target="../media/image40.png"/><Relationship Id="rId3" Type="http://schemas.openxmlformats.org/officeDocument/2006/relationships/diagramData" Target="../diagrams/data1.xml"/><Relationship Id="rId21" Type="http://schemas.openxmlformats.org/officeDocument/2006/relationships/image" Target="../media/image43.svg"/><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xml"/><Relationship Id="rId16" Type="http://schemas.openxmlformats.org/officeDocument/2006/relationships/diagramColors" Target="../diagrams/colors3.xml"/><Relationship Id="rId20"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image" Target="../media/image41.sv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openxmlformats.org/officeDocument/2006/relationships/image" Target="../media/image44.svg"/></Relationships>
</file>

<file path=ppt/slides/_rels/slide1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Layout" Target="../slideLayouts/slideLayout49.xml"/><Relationship Id="rId1" Type="http://schemas.openxmlformats.org/officeDocument/2006/relationships/tags" Target="../tags/tag1.xml"/><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Layout" Target="../slideLayouts/slideLayout50.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7.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3.png"/><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image" Target="../media/image26.png"/><Relationship Id="rId1" Type="http://schemas.openxmlformats.org/officeDocument/2006/relationships/slideLayout" Target="../slideLayouts/slideLayout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png"/><Relationship Id="rId7" Type="http://schemas.openxmlformats.org/officeDocument/2006/relationships/image" Target="../media/image34.svg"/><Relationship Id="rId2" Type="http://schemas.openxmlformats.org/officeDocument/2006/relationships/notesSlide" Target="../notesSlides/notesSlide1.xml"/><Relationship Id="rId1" Type="http://schemas.openxmlformats.org/officeDocument/2006/relationships/slideLayout" Target="../slideLayouts/slideLayout51.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8.png"/><Relationship Id="rId10" Type="http://schemas.openxmlformats.org/officeDocument/2006/relationships/image" Target="../media/image37.png"/><Relationship Id="rId4" Type="http://schemas.openxmlformats.org/officeDocument/2006/relationships/image" Target="../media/image2.png"/><Relationship Id="rId9" Type="http://schemas.openxmlformats.org/officeDocument/2006/relationships/image" Target="../media/image36.svg"/></Relationships>
</file>

<file path=ppt/slides/_rels/slide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7152" name="Picture Placeholder 6"/>
          <p:cNvPicPr>
            <a:picLocks noGrp="1" noChangeAspect="1"/>
          </p:cNvPicPr>
          <p:nvPr>
            <p:ph type="pic" sz="quarter" idx="10"/>
          </p:nvPr>
        </p:nvPicPr>
        <p:blipFill>
          <a:blip r:embed="rId2" cstate="print"/>
          <a:srcRect t="7794" b="7794"/>
          <a:stretch>
            <a:fillRect/>
          </a:stretch>
        </p:blipFill>
        <p:spPr>
          <a:xfrm>
            <a:off x="-34917" y="0"/>
            <a:ext cx="12244375" cy="6858000"/>
          </a:xfrm>
        </p:spPr>
      </p:pic>
      <p:sp>
        <p:nvSpPr>
          <p:cNvPr id="1048582" name="Rectangle 1"/>
          <p:cNvSpPr/>
          <p:nvPr/>
        </p:nvSpPr>
        <p:spPr>
          <a:xfrm>
            <a:off x="-34918" y="-1"/>
            <a:ext cx="12244375"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8583" name="TextBox 3"/>
          <p:cNvSpPr txBox="1"/>
          <p:nvPr/>
        </p:nvSpPr>
        <p:spPr>
          <a:xfrm>
            <a:off x="1891202" y="1818715"/>
            <a:ext cx="8435267" cy="3170099"/>
          </a:xfrm>
          <a:prstGeom prst="rect">
            <a:avLst/>
          </a:prstGeom>
          <a:noFill/>
        </p:spPr>
        <p:txBody>
          <a:bodyPr wrap="square" rtlCol="0">
            <a:spAutoFit/>
          </a:bodyPr>
          <a:lstStyle/>
          <a:p>
            <a:pPr algn="ctr"/>
            <a:r>
              <a:rPr lang="en-US" sz="4000" b="1" dirty="0">
                <a:solidFill>
                  <a:srgbClr val="5791D8"/>
                </a:solidFill>
                <a:latin typeface="+mj-lt"/>
              </a:rPr>
              <a:t>ROBUST RISK MANAGEMENT FOR </a:t>
            </a:r>
          </a:p>
          <a:p>
            <a:pPr algn="ctr"/>
            <a:r>
              <a:rPr lang="en-US" sz="4000" b="1" dirty="0">
                <a:latin typeface="+mj-lt"/>
              </a:rPr>
              <a:t>ISLAMIC BANKING </a:t>
            </a:r>
          </a:p>
          <a:p>
            <a:pPr algn="ctr"/>
            <a:r>
              <a:rPr lang="en-US" sz="4000" b="1" dirty="0">
                <a:latin typeface="+mj-lt"/>
              </a:rPr>
              <a:t>&amp;</a:t>
            </a:r>
          </a:p>
          <a:p>
            <a:pPr algn="ctr"/>
            <a:r>
              <a:rPr lang="en-US" sz="4000" b="1" dirty="0">
                <a:latin typeface="+mj-lt"/>
              </a:rPr>
              <a:t>FINANCIAL INSTITUTIONS</a:t>
            </a:r>
            <a:endParaRPr lang="en-ID" sz="4000" b="1" dirty="0">
              <a:solidFill>
                <a:srgbClr val="BDD598"/>
              </a:solidFill>
              <a:latin typeface="+mj-lt"/>
            </a:endParaRPr>
          </a:p>
        </p:txBody>
      </p:sp>
      <p:grpSp>
        <p:nvGrpSpPr>
          <p:cNvPr id="66" name="Group 5"/>
          <p:cNvGrpSpPr/>
          <p:nvPr/>
        </p:nvGrpSpPr>
        <p:grpSpPr>
          <a:xfrm>
            <a:off x="5710295" y="4988814"/>
            <a:ext cx="753947" cy="261258"/>
            <a:chOff x="5719027" y="4173124"/>
            <a:chExt cx="753947" cy="261258"/>
          </a:xfrm>
        </p:grpSpPr>
        <p:sp>
          <p:nvSpPr>
            <p:cNvPr id="1048585" name="Isosceles Triangle 11"/>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586" name="Isosceles Triangle 13"/>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587" name="Isosceles Triangle 16"/>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Group 1">
            <a:extLst>
              <a:ext uri="{FF2B5EF4-FFF2-40B4-BE49-F238E27FC236}">
                <a16:creationId xmlns:a16="http://schemas.microsoft.com/office/drawing/2014/main" id="{2DBA4366-356A-4612-A436-7EAED26D3A62}"/>
              </a:ext>
            </a:extLst>
          </p:cNvPr>
          <p:cNvGrpSpPr/>
          <p:nvPr/>
        </p:nvGrpSpPr>
        <p:grpSpPr>
          <a:xfrm>
            <a:off x="8797793" y="120280"/>
            <a:ext cx="3272287" cy="793196"/>
            <a:chOff x="8838433" y="120280"/>
            <a:chExt cx="3272287" cy="793196"/>
          </a:xfrm>
        </p:grpSpPr>
        <p:pic>
          <p:nvPicPr>
            <p:cNvPr id="2097153" name="Picture 17"/>
            <p:cNvPicPr>
              <a:picLocks noChangeAspect="1"/>
            </p:cNvPicPr>
            <p:nvPr/>
          </p:nvPicPr>
          <p:blipFill rotWithShape="1">
            <a:blip r:embed="rId3"/>
            <a:srcRect t="22084" b="36867"/>
            <a:stretch>
              <a:fillRect/>
            </a:stretch>
          </p:blipFill>
          <p:spPr>
            <a:xfrm>
              <a:off x="9897680" y="489613"/>
              <a:ext cx="2213040" cy="423863"/>
            </a:xfrm>
            <a:prstGeom prst="rect">
              <a:avLst/>
            </a:prstGeom>
            <a:effectLst>
              <a:reflection blurRad="6350" stA="50000" endA="300" endPos="65000" dir="5400000" sy="-100000" algn="bl" rotWithShape="0"/>
            </a:effectLst>
          </p:spPr>
        </p:pic>
        <p:sp>
          <p:nvSpPr>
            <p:cNvPr id="1048588" name="TextBox 7"/>
            <p:cNvSpPr txBox="1"/>
            <p:nvPr/>
          </p:nvSpPr>
          <p:spPr>
            <a:xfrm>
              <a:off x="8838433" y="120280"/>
              <a:ext cx="3272287" cy="369332"/>
            </a:xfrm>
            <a:prstGeom prst="rect">
              <a:avLst/>
            </a:prstGeom>
            <a:noFill/>
          </p:spPr>
          <p:txBody>
            <a:bodyPr wrap="square" rtlCol="0">
              <a:spAutoFit/>
            </a:bodyPr>
            <a:lstStyle/>
            <a:p>
              <a:pPr algn="r"/>
              <a:r>
                <a:rPr lang="en-US" b="1" dirty="0">
                  <a:latin typeface="Raleway" pitchFamily="2" charset="0"/>
                </a:rPr>
                <a:t>Risk Management Solutions</a:t>
              </a:r>
            </a:p>
          </p:txBody>
        </p:sp>
      </p:grpSp>
      <p:pic>
        <p:nvPicPr>
          <p:cNvPr id="2097154" name="Picture 25"/>
          <p:cNvPicPr>
            <a:picLocks noChangeAspect="1"/>
          </p:cNvPicPr>
          <p:nvPr/>
        </p:nvPicPr>
        <p:blipFill rotWithShape="1">
          <a:blip r:embed="rId4"/>
          <a:srcRect l="16638" t="17440" r="19607" b="5712"/>
          <a:stretch>
            <a:fillRect/>
          </a:stretch>
        </p:blipFill>
        <p:spPr>
          <a:xfrm>
            <a:off x="92124" y="116283"/>
            <a:ext cx="1140619" cy="1295298"/>
          </a:xfrm>
          <a:prstGeom prst="rect">
            <a:avLst/>
          </a:prstGeom>
        </p:spPr>
      </p:pic>
      <p:sp>
        <p:nvSpPr>
          <p:cNvPr id="1048589" name="TextBox 14"/>
          <p:cNvSpPr txBox="1"/>
          <p:nvPr/>
        </p:nvSpPr>
        <p:spPr>
          <a:xfrm>
            <a:off x="1232743" y="6392007"/>
            <a:ext cx="975218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 Copyright Avati Consulting Solutions 2023</a:t>
            </a:r>
          </a:p>
          <a:p>
            <a:pPr algn="ctr"/>
            <a:r>
              <a:rPr lang="en-US" sz="1200" dirty="0"/>
              <a:t>This document is confidential and is intended solely for the use and information of the client/partner to whom it is addressed.</a:t>
            </a:r>
          </a:p>
        </p:txBody>
      </p:sp>
      <p:sp>
        <p:nvSpPr>
          <p:cNvPr id="4" name="TextBox 9">
            <a:extLst>
              <a:ext uri="{FF2B5EF4-FFF2-40B4-BE49-F238E27FC236}">
                <a16:creationId xmlns:a16="http://schemas.microsoft.com/office/drawing/2014/main" id="{ED631DAC-E9D4-5398-7A76-59715191781C}"/>
              </a:ext>
            </a:extLst>
          </p:cNvPr>
          <p:cNvSpPr txBox="1"/>
          <p:nvPr/>
        </p:nvSpPr>
        <p:spPr>
          <a:xfrm>
            <a:off x="2341352" y="5636373"/>
            <a:ext cx="7491831" cy="369332"/>
          </a:xfrm>
          <a:prstGeom prst="rect">
            <a:avLst/>
          </a:prstGeom>
          <a:noFill/>
        </p:spPr>
        <p:txBody>
          <a:bodyPr wrap="square" rtlCol="0">
            <a:spAutoFit/>
          </a:bodyPr>
          <a:lstStyle/>
          <a:p>
            <a:pPr algn="ctr"/>
            <a:r>
              <a:rPr lang="en-US" b="1" spc="300" dirty="0">
                <a:latin typeface="+mj-lt"/>
                <a:ea typeface="Lato" panose="020F0502020204030203" pitchFamily="34" charset="0"/>
                <a:cs typeface="Lato" panose="020F0502020204030203" pitchFamily="34" charset="0"/>
              </a:rPr>
              <a:t>Tashkent, March’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823" name="TextBox 244"/>
          <p:cNvSpPr txBox="1"/>
          <p:nvPr/>
        </p:nvSpPr>
        <p:spPr>
          <a:xfrm>
            <a:off x="1915280" y="186611"/>
            <a:ext cx="8382000" cy="477054"/>
          </a:xfrm>
          <a:prstGeom prst="rect">
            <a:avLst/>
          </a:prstGeom>
          <a:noFill/>
        </p:spPr>
        <p:txBody>
          <a:bodyPr wrap="square">
            <a:spAutoFit/>
          </a:bodyPr>
          <a:lstStyle/>
          <a:p>
            <a:pPr algn="ctr"/>
            <a:r>
              <a:rPr lang="en-US" sz="2500" b="1" dirty="0">
                <a:latin typeface="+mj-lt"/>
              </a:rPr>
              <a:t>ERM TECHNOLOGY </a:t>
            </a:r>
            <a:r>
              <a:rPr lang="en-US" sz="2500" b="1" dirty="0">
                <a:solidFill>
                  <a:srgbClr val="5791D8"/>
                </a:solidFill>
                <a:latin typeface="+mj-lt"/>
              </a:rPr>
              <a:t>LANDSCAPE &amp; COMPONENTS</a:t>
            </a:r>
          </a:p>
        </p:txBody>
      </p:sp>
      <p:grpSp>
        <p:nvGrpSpPr>
          <p:cNvPr id="190" name="Group 245"/>
          <p:cNvGrpSpPr/>
          <p:nvPr/>
        </p:nvGrpSpPr>
        <p:grpSpPr>
          <a:xfrm>
            <a:off x="5729087" y="701205"/>
            <a:ext cx="753947" cy="261258"/>
            <a:chOff x="5719027" y="4173124"/>
            <a:chExt cx="753947" cy="261258"/>
          </a:xfrm>
        </p:grpSpPr>
        <p:sp>
          <p:nvSpPr>
            <p:cNvPr id="1048824" name="Isosceles Triangle 246"/>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825" name="Isosceles Triangle 247"/>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826" name="Isosceles Triangle 248"/>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3" name="Diagram 2">
            <a:extLst>
              <a:ext uri="{FF2B5EF4-FFF2-40B4-BE49-F238E27FC236}">
                <a16:creationId xmlns:a16="http://schemas.microsoft.com/office/drawing/2014/main" id="{AF9EA5CC-3CEC-4207-A8A5-41566E280D5C}"/>
              </a:ext>
            </a:extLst>
          </p:cNvPr>
          <p:cNvGraphicFramePr/>
          <p:nvPr>
            <p:extLst>
              <p:ext uri="{D42A27DB-BD31-4B8C-83A1-F6EECF244321}">
                <p14:modId xmlns:p14="http://schemas.microsoft.com/office/powerpoint/2010/main" val="3695796154"/>
              </p:ext>
            </p:extLst>
          </p:nvPr>
        </p:nvGraphicFramePr>
        <p:xfrm>
          <a:off x="-1272191" y="2979810"/>
          <a:ext cx="5266901" cy="2829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048772" name="Group 1048771">
            <a:extLst>
              <a:ext uri="{FF2B5EF4-FFF2-40B4-BE49-F238E27FC236}">
                <a16:creationId xmlns:a16="http://schemas.microsoft.com/office/drawing/2014/main" id="{1278213F-B531-4148-ACBB-428957213202}"/>
              </a:ext>
            </a:extLst>
          </p:cNvPr>
          <p:cNvGrpSpPr/>
          <p:nvPr/>
        </p:nvGrpSpPr>
        <p:grpSpPr>
          <a:xfrm>
            <a:off x="604493" y="1420687"/>
            <a:ext cx="11200242" cy="5204820"/>
            <a:chOff x="604493" y="1420687"/>
            <a:chExt cx="11200242" cy="5204820"/>
          </a:xfrm>
        </p:grpSpPr>
        <p:sp>
          <p:nvSpPr>
            <p:cNvPr id="1048828" name="Rectangle: Rounded Corners 6"/>
            <p:cNvSpPr/>
            <p:nvPr/>
          </p:nvSpPr>
          <p:spPr>
            <a:xfrm>
              <a:off x="10528385" y="2914356"/>
              <a:ext cx="1276350" cy="3200591"/>
            </a:xfrm>
            <a:prstGeom prst="roundRect">
              <a:avLst/>
            </a:prstGeom>
            <a:solidFill>
              <a:schemeClr val="tx1">
                <a:lumMod val="85000"/>
                <a:lumOff val="1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Raleway" pitchFamily="2" charset="0"/>
                </a:rPr>
                <a:t>Portfolio Analysis &amp; Mgt. Dash Boards</a:t>
              </a:r>
            </a:p>
          </p:txBody>
        </p:sp>
        <p:grpSp>
          <p:nvGrpSpPr>
            <p:cNvPr id="4" name="Group 3">
              <a:extLst>
                <a:ext uri="{FF2B5EF4-FFF2-40B4-BE49-F238E27FC236}">
                  <a16:creationId xmlns:a16="http://schemas.microsoft.com/office/drawing/2014/main" id="{F5516DFC-C4F4-430F-BFE0-86140C11AE37}"/>
                </a:ext>
              </a:extLst>
            </p:cNvPr>
            <p:cNvGrpSpPr/>
            <p:nvPr/>
          </p:nvGrpSpPr>
          <p:grpSpPr>
            <a:xfrm>
              <a:off x="604493" y="1420687"/>
              <a:ext cx="11156615" cy="511617"/>
              <a:chOff x="604493" y="1420687"/>
              <a:chExt cx="11156615" cy="511617"/>
            </a:xfrm>
          </p:grpSpPr>
          <p:sp>
            <p:nvSpPr>
              <p:cNvPr id="1048847" name="TextBox 240"/>
              <p:cNvSpPr txBox="1"/>
              <p:nvPr/>
            </p:nvSpPr>
            <p:spPr>
              <a:xfrm>
                <a:off x="604493" y="1421526"/>
                <a:ext cx="1455856" cy="510778"/>
              </a:xfrm>
              <a:prstGeom prst="roundRect">
                <a:avLst/>
              </a:prstGeom>
              <a:noFill/>
              <a:ln w="19050">
                <a:solidFill>
                  <a:srgbClr val="5791D8"/>
                </a:solidFill>
                <a:prstDash val="dash"/>
              </a:ln>
            </p:spPr>
            <p:txBody>
              <a:bodyPr wrap="square" rtlCol="0">
                <a:spAutoFit/>
              </a:bodyPr>
              <a:lstStyle/>
              <a:p>
                <a:pPr algn="ctr"/>
                <a:r>
                  <a:rPr lang="en-US" sz="1200" b="1" dirty="0">
                    <a:latin typeface="Raleway" pitchFamily="2" charset="0"/>
                  </a:rPr>
                  <a:t>Transaction / </a:t>
                </a:r>
              </a:p>
              <a:p>
                <a:pPr algn="ctr"/>
                <a:r>
                  <a:rPr lang="en-US" sz="1200" b="1" dirty="0">
                    <a:latin typeface="Raleway" pitchFamily="2" charset="0"/>
                  </a:rPr>
                  <a:t>Core Systems</a:t>
                </a:r>
              </a:p>
            </p:txBody>
          </p:sp>
          <p:sp>
            <p:nvSpPr>
              <p:cNvPr id="1048848" name="TextBox 241"/>
              <p:cNvSpPr txBox="1"/>
              <p:nvPr/>
            </p:nvSpPr>
            <p:spPr>
              <a:xfrm>
                <a:off x="2159817" y="1421526"/>
                <a:ext cx="1097280" cy="510778"/>
              </a:xfrm>
              <a:prstGeom prst="roundRect">
                <a:avLst/>
              </a:prstGeom>
              <a:noFill/>
              <a:ln w="19050">
                <a:solidFill>
                  <a:srgbClr val="5791D8"/>
                </a:solidFill>
                <a:prstDash val="dash"/>
              </a:ln>
            </p:spPr>
            <p:txBody>
              <a:bodyPr wrap="square" rtlCol="0">
                <a:spAutoFit/>
              </a:bodyPr>
              <a:lstStyle/>
              <a:p>
                <a:pPr algn="ctr"/>
                <a:r>
                  <a:rPr lang="en-US" sz="1200" b="1" dirty="0">
                    <a:latin typeface="Raleway" pitchFamily="2" charset="0"/>
                  </a:rPr>
                  <a:t>Risk Data Mart</a:t>
                </a:r>
              </a:p>
            </p:txBody>
          </p:sp>
          <p:sp>
            <p:nvSpPr>
              <p:cNvPr id="1048849" name="TextBox 242"/>
              <p:cNvSpPr txBox="1"/>
              <p:nvPr/>
            </p:nvSpPr>
            <p:spPr>
              <a:xfrm>
                <a:off x="3648924" y="1451173"/>
                <a:ext cx="6400800" cy="306467"/>
              </a:xfrm>
              <a:prstGeom prst="roundRect">
                <a:avLst/>
              </a:prstGeom>
              <a:noFill/>
              <a:ln w="41275">
                <a:gradFill flip="none" rotWithShape="1">
                  <a:gsLst>
                    <a:gs pos="0">
                      <a:srgbClr val="065E9B"/>
                    </a:gs>
                    <a:gs pos="100000">
                      <a:srgbClr val="FFC000"/>
                    </a:gs>
                  </a:gsLst>
                  <a:lin ang="0" scaled="1"/>
                  <a:tileRect/>
                </a:gradFill>
                <a:prstDash val="dash"/>
              </a:ln>
              <a:effectLst>
                <a:innerShdw blurRad="63500" dist="50800" dir="13500000">
                  <a:prstClr val="black">
                    <a:alpha val="50000"/>
                  </a:prstClr>
                </a:innerShdw>
              </a:effectLst>
            </p:spPr>
            <p:txBody>
              <a:bodyPr wrap="square" rtlCol="0" anchor="ctr">
                <a:spAutoFit/>
              </a:bodyPr>
              <a:lstStyle/>
              <a:p>
                <a:pPr algn="ctr"/>
                <a:r>
                  <a:rPr lang="en-US" sz="1200" b="1" dirty="0">
                    <a:latin typeface="Raleway" pitchFamily="2" charset="0"/>
                  </a:rPr>
                  <a:t>Enterprise wide Risk &amp; Capital Management Modules</a:t>
                </a:r>
              </a:p>
            </p:txBody>
          </p:sp>
          <p:sp>
            <p:nvSpPr>
              <p:cNvPr id="1048850" name="TextBox 243"/>
              <p:cNvSpPr txBox="1"/>
              <p:nvPr/>
            </p:nvSpPr>
            <p:spPr>
              <a:xfrm>
                <a:off x="10484758" y="1420687"/>
                <a:ext cx="1276350" cy="306467"/>
              </a:xfrm>
              <a:prstGeom prst="roundRect">
                <a:avLst/>
              </a:prstGeom>
              <a:noFill/>
              <a:ln w="19050">
                <a:solidFill>
                  <a:srgbClr val="5791D8"/>
                </a:solidFill>
                <a:prstDash val="dash"/>
              </a:ln>
            </p:spPr>
            <p:txBody>
              <a:bodyPr wrap="square" rtlCol="0">
                <a:spAutoFit/>
              </a:bodyPr>
              <a:lstStyle/>
              <a:p>
                <a:pPr algn="ctr"/>
                <a:r>
                  <a:rPr lang="en-US" sz="1200" b="1" dirty="0">
                    <a:latin typeface="Raleway" pitchFamily="2" charset="0"/>
                  </a:rPr>
                  <a:t>Dashboard</a:t>
                </a:r>
              </a:p>
            </p:txBody>
          </p:sp>
        </p:grpSp>
        <p:graphicFrame>
          <p:nvGraphicFramePr>
            <p:cNvPr id="89" name="Diagram 88">
              <a:extLst>
                <a:ext uri="{FF2B5EF4-FFF2-40B4-BE49-F238E27FC236}">
                  <a16:creationId xmlns:a16="http://schemas.microsoft.com/office/drawing/2014/main" id="{A5B0890E-E715-413B-9004-B000B82F1CE3}"/>
                </a:ext>
              </a:extLst>
            </p:cNvPr>
            <p:cNvGraphicFramePr/>
            <p:nvPr>
              <p:extLst>
                <p:ext uri="{D42A27DB-BD31-4B8C-83A1-F6EECF244321}">
                  <p14:modId xmlns:p14="http://schemas.microsoft.com/office/powerpoint/2010/main" val="1870932895"/>
                </p:ext>
              </p:extLst>
            </p:nvPr>
          </p:nvGraphicFramePr>
          <p:xfrm>
            <a:off x="2036718" y="2361555"/>
            <a:ext cx="6549384" cy="41696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90" name="Diagram 89">
              <a:extLst>
                <a:ext uri="{FF2B5EF4-FFF2-40B4-BE49-F238E27FC236}">
                  <a16:creationId xmlns:a16="http://schemas.microsoft.com/office/drawing/2014/main" id="{14CA3F76-3DE4-4DC9-8580-3B40BC96D701}"/>
                </a:ext>
              </a:extLst>
            </p:cNvPr>
            <p:cNvGraphicFramePr/>
            <p:nvPr>
              <p:extLst>
                <p:ext uri="{D42A27DB-BD31-4B8C-83A1-F6EECF244321}">
                  <p14:modId xmlns:p14="http://schemas.microsoft.com/office/powerpoint/2010/main" val="2902434099"/>
                </p:ext>
              </p:extLst>
            </p:nvPr>
          </p:nvGraphicFramePr>
          <p:xfrm>
            <a:off x="4756953" y="2738649"/>
            <a:ext cx="6409607" cy="3311473"/>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16" name="Graphic 15">
              <a:extLst>
                <a:ext uri="{FF2B5EF4-FFF2-40B4-BE49-F238E27FC236}">
                  <a16:creationId xmlns:a16="http://schemas.microsoft.com/office/drawing/2014/main" id="{75CC1799-40CB-41C1-B25D-B8D27B03204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6200000">
              <a:off x="2404627" y="4080674"/>
              <a:ext cx="3311474" cy="978840"/>
            </a:xfrm>
            <a:prstGeom prst="rect">
              <a:avLst/>
            </a:prstGeom>
          </p:spPr>
        </p:pic>
        <p:pic>
          <p:nvPicPr>
            <p:cNvPr id="104" name="Graphic 103">
              <a:extLst>
                <a:ext uri="{FF2B5EF4-FFF2-40B4-BE49-F238E27FC236}">
                  <a16:creationId xmlns:a16="http://schemas.microsoft.com/office/drawing/2014/main" id="{52894EB1-205D-4D2A-A092-DB2A0947F62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5400000">
              <a:off x="7612864" y="3977611"/>
              <a:ext cx="3166183" cy="978840"/>
            </a:xfrm>
            <a:prstGeom prst="rect">
              <a:avLst/>
            </a:prstGeom>
          </p:spPr>
        </p:pic>
        <p:pic>
          <p:nvPicPr>
            <p:cNvPr id="140" name="Graphic 139">
              <a:extLst>
                <a:ext uri="{FF2B5EF4-FFF2-40B4-BE49-F238E27FC236}">
                  <a16:creationId xmlns:a16="http://schemas.microsoft.com/office/drawing/2014/main" id="{D831FC9C-314E-4447-AFFE-CBF244DE8D4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71523" y="2390293"/>
              <a:ext cx="3006824" cy="423798"/>
            </a:xfrm>
            <a:prstGeom prst="rect">
              <a:avLst/>
            </a:prstGeom>
          </p:spPr>
        </p:pic>
        <p:cxnSp>
          <p:nvCxnSpPr>
            <p:cNvPr id="47" name="Connector: Elbow 46">
              <a:extLst>
                <a:ext uri="{FF2B5EF4-FFF2-40B4-BE49-F238E27FC236}">
                  <a16:creationId xmlns:a16="http://schemas.microsoft.com/office/drawing/2014/main" id="{7AC6798D-F758-492B-ACEB-ECA30910FED6}"/>
                </a:ext>
              </a:extLst>
            </p:cNvPr>
            <p:cNvCxnSpPr>
              <a:cxnSpLocks/>
              <a:stCxn id="16" idx="0"/>
              <a:endCxn id="3" idx="0"/>
            </p:cNvCxnSpPr>
            <p:nvPr/>
          </p:nvCxnSpPr>
          <p:spPr>
            <a:xfrm rot="10800000">
              <a:off x="1361260" y="2979810"/>
              <a:ext cx="2209685" cy="1590284"/>
            </a:xfrm>
            <a:prstGeom prst="bentConnector4">
              <a:avLst>
                <a:gd name="adj1" fmla="val 14077"/>
                <a:gd name="adj2" fmla="val 114375"/>
              </a:avLst>
            </a:prstGeom>
            <a:ln w="19050" cap="flat" cmpd="sng" algn="ctr">
              <a:solidFill>
                <a:schemeClr val="accent4"/>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47" name="Connector: Elbow 146">
              <a:extLst>
                <a:ext uri="{FF2B5EF4-FFF2-40B4-BE49-F238E27FC236}">
                  <a16:creationId xmlns:a16="http://schemas.microsoft.com/office/drawing/2014/main" id="{E4BA6642-3341-4DF4-9505-B76134D7F698}"/>
                </a:ext>
              </a:extLst>
            </p:cNvPr>
            <p:cNvCxnSpPr>
              <a:cxnSpLocks/>
              <a:stCxn id="104" idx="0"/>
              <a:endCxn id="1048828" idx="0"/>
            </p:cNvCxnSpPr>
            <p:nvPr/>
          </p:nvCxnSpPr>
          <p:spPr>
            <a:xfrm flipV="1">
              <a:off x="9685376" y="2914356"/>
              <a:ext cx="1481184" cy="1552676"/>
            </a:xfrm>
            <a:prstGeom prst="bentConnector4">
              <a:avLst>
                <a:gd name="adj1" fmla="val 26231"/>
                <a:gd name="adj2" fmla="val 114723"/>
              </a:avLst>
            </a:prstGeom>
            <a:ln w="19050" cap="flat" cmpd="sng" algn="ctr">
              <a:solidFill>
                <a:schemeClr val="accent4"/>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162" name="Graphic 161">
              <a:extLst>
                <a:ext uri="{FF2B5EF4-FFF2-40B4-BE49-F238E27FC236}">
                  <a16:creationId xmlns:a16="http://schemas.microsoft.com/office/drawing/2014/main" id="{BA82E402-9210-43D3-97F8-91C9FA96AE0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0800000">
              <a:off x="1422788" y="6063538"/>
              <a:ext cx="10132541" cy="561969"/>
            </a:xfrm>
            <a:prstGeom prst="rect">
              <a:avLst/>
            </a:prstGeom>
          </p:spPr>
        </p:pic>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030" name="Rectangle 13"/>
          <p:cNvSpPr/>
          <p:nvPr/>
        </p:nvSpPr>
        <p:spPr>
          <a:xfrm>
            <a:off x="0" y="0"/>
            <a:ext cx="12192000" cy="6858000"/>
          </a:xfrm>
          <a:prstGeom prst="rect">
            <a:avLst/>
          </a:prstGeom>
          <a:solidFill>
            <a:schemeClr val="tx1">
              <a:lumMod val="95000"/>
              <a:lumOff val="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7272" name="Picture Placeholder 27"/>
          <p:cNvPicPr>
            <a:picLocks noGrp="1" noChangeAspect="1"/>
          </p:cNvPicPr>
          <p:nvPr>
            <p:ph type="pic" sz="quarter" idx="13"/>
          </p:nvPr>
        </p:nvPicPr>
        <p:blipFill>
          <a:blip r:embed="rId3" cstate="print"/>
          <a:srcRect t="7813" b="7813"/>
          <a:stretch>
            <a:fillRect/>
          </a:stretch>
        </p:blipFill>
        <p:spPr/>
      </p:pic>
      <p:sp>
        <p:nvSpPr>
          <p:cNvPr id="1049031" name="Rectangle 5"/>
          <p:cNvSpPr/>
          <p:nvPr>
            <p:custDataLst>
              <p:tags r:id="rId1"/>
            </p:custDataLst>
          </p:nvPr>
        </p:nvSpPr>
        <p:spPr>
          <a:xfrm>
            <a:off x="6512813" y="790575"/>
            <a:ext cx="4757675" cy="292364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spc="-150" dirty="0">
                <a:solidFill>
                  <a:schemeClr val="tx1"/>
                </a:solidFill>
                <a:latin typeface="Montserrat" panose="00000500000000000000" pitchFamily="2" charset="0"/>
                <a:ea typeface="Roboto" panose="02000000000000000000" pitchFamily="2" charset="0"/>
                <a:cs typeface="Lato" panose="020F0502020204030203" pitchFamily="34" charset="0"/>
              </a:rPr>
              <a:t>THANK YOU! </a:t>
            </a:r>
          </a:p>
        </p:txBody>
      </p:sp>
      <p:sp>
        <p:nvSpPr>
          <p:cNvPr id="1049032" name="Freeform 9"/>
          <p:cNvSpPr/>
          <p:nvPr/>
        </p:nvSpPr>
        <p:spPr>
          <a:xfrm>
            <a:off x="-36376" y="1082389"/>
            <a:ext cx="9277348" cy="5775611"/>
          </a:xfrm>
          <a:custGeom>
            <a:avLst/>
            <a:gdLst>
              <a:gd name="connsiteX0" fmla="*/ 3122338 w 9277348"/>
              <a:gd name="connsiteY0" fmla="*/ 0 h 5775611"/>
              <a:gd name="connsiteX1" fmla="*/ 9277348 w 9277348"/>
              <a:gd name="connsiteY1" fmla="*/ 5775611 h 5775611"/>
              <a:gd name="connsiteX2" fmla="*/ 0 w 9277348"/>
              <a:gd name="connsiteY2" fmla="*/ 5775611 h 5775611"/>
              <a:gd name="connsiteX3" fmla="*/ 0 w 9277348"/>
              <a:gd name="connsiteY3" fmla="*/ 2929874 h 5775611"/>
            </a:gdLst>
            <a:ahLst/>
            <a:cxnLst>
              <a:cxn ang="0">
                <a:pos x="connsiteX0" y="connsiteY0"/>
              </a:cxn>
              <a:cxn ang="0">
                <a:pos x="connsiteX1" y="connsiteY1"/>
              </a:cxn>
              <a:cxn ang="0">
                <a:pos x="connsiteX2" y="connsiteY2"/>
              </a:cxn>
              <a:cxn ang="0">
                <a:pos x="connsiteX3" y="connsiteY3"/>
              </a:cxn>
            </a:cxnLst>
            <a:rect l="l" t="t" r="r" b="b"/>
            <a:pathLst>
              <a:path w="9277348" h="5775611">
                <a:moveTo>
                  <a:pt x="3122338" y="0"/>
                </a:moveTo>
                <a:lnTo>
                  <a:pt x="9277348" y="5775611"/>
                </a:lnTo>
                <a:lnTo>
                  <a:pt x="0" y="5775611"/>
                </a:lnTo>
                <a:lnTo>
                  <a:pt x="0" y="2929874"/>
                </a:lnTo>
                <a:close/>
              </a:path>
            </a:pathLst>
          </a:custGeom>
          <a:solidFill>
            <a:schemeClr val="tx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p>
        </p:txBody>
      </p:sp>
      <p:sp>
        <p:nvSpPr>
          <p:cNvPr id="1049033" name="Right Triangle 2"/>
          <p:cNvSpPr/>
          <p:nvPr/>
        </p:nvSpPr>
        <p:spPr>
          <a:xfrm flipH="1" flipV="1">
            <a:off x="10610850" y="0"/>
            <a:ext cx="1581150" cy="1581150"/>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9034" name="Rectangle 3"/>
          <p:cNvSpPr/>
          <p:nvPr/>
        </p:nvSpPr>
        <p:spPr>
          <a:xfrm>
            <a:off x="717774" y="3253928"/>
            <a:ext cx="3595205" cy="646331"/>
          </a:xfrm>
          <a:prstGeom prst="rect">
            <a:avLst/>
          </a:prstGeom>
        </p:spPr>
        <p:txBody>
          <a:bodyPr wrap="square">
            <a:spAutoFit/>
          </a:bodyPr>
          <a:lstStyle/>
          <a:p>
            <a:r>
              <a:rPr lang="id-ID" b="1" dirty="0">
                <a:solidFill>
                  <a:schemeClr val="bg1"/>
                </a:solidFill>
                <a:latin typeface="Montserrat" panose="00000500000000000000" pitchFamily="50" charset="0"/>
              </a:rPr>
              <a:t>AVATI CONSULTING SOLUTIONS FZC LLC</a:t>
            </a:r>
          </a:p>
        </p:txBody>
      </p:sp>
      <p:sp>
        <p:nvSpPr>
          <p:cNvPr id="1049035" name="Slide Number Placeholder 4"/>
          <p:cNvSpPr>
            <a:spLocks noGrp="1"/>
          </p:cNvSpPr>
          <p:nvPr>
            <p:ph type="sldNum" sz="quarter" idx="12"/>
          </p:nvPr>
        </p:nvSpPr>
        <p:spPr/>
        <p:txBody>
          <a:bodyPr/>
          <a:lstStyle/>
          <a:p>
            <a:fld id="{A9741AAB-57A4-4E74-9983-01B37A8F9082}" type="slidenum">
              <a:rPr lang="en-US" smtClean="0"/>
              <a:t>11</a:t>
            </a:fld>
            <a:endParaRPr lang="en-US"/>
          </a:p>
        </p:txBody>
      </p:sp>
      <p:sp>
        <p:nvSpPr>
          <p:cNvPr id="1049036" name="Rectangle 19"/>
          <p:cNvSpPr/>
          <p:nvPr/>
        </p:nvSpPr>
        <p:spPr>
          <a:xfrm>
            <a:off x="710096" y="4854366"/>
            <a:ext cx="3595205" cy="646331"/>
          </a:xfrm>
          <a:prstGeom prst="rect">
            <a:avLst/>
          </a:prstGeom>
        </p:spPr>
        <p:txBody>
          <a:bodyPr wrap="square">
            <a:spAutoFit/>
          </a:bodyPr>
          <a:lstStyle/>
          <a:p>
            <a:r>
              <a:rPr lang="id-ID" b="1" dirty="0">
                <a:solidFill>
                  <a:schemeClr val="bg1"/>
                </a:solidFill>
                <a:latin typeface="Montserrat" panose="00000500000000000000" pitchFamily="50" charset="0"/>
              </a:rPr>
              <a:t>AVATI CONSULTING SOLUTIONS (P) LTD.</a:t>
            </a:r>
          </a:p>
        </p:txBody>
      </p:sp>
      <p:sp>
        <p:nvSpPr>
          <p:cNvPr id="1049037" name="Rectangle 20"/>
          <p:cNvSpPr/>
          <p:nvPr/>
        </p:nvSpPr>
        <p:spPr>
          <a:xfrm>
            <a:off x="710096" y="5500697"/>
            <a:ext cx="3291840" cy="646331"/>
          </a:xfrm>
          <a:prstGeom prst="rect">
            <a:avLst/>
          </a:prstGeom>
          <a:noFill/>
        </p:spPr>
        <p:txBody>
          <a:bodyPr wrap="square">
            <a:spAutoFit/>
          </a:bodyPr>
          <a:lstStyle/>
          <a:p>
            <a:pPr marR="0">
              <a:spcBef>
                <a:spcPts val="0"/>
              </a:spcBef>
              <a:spcAft>
                <a:spcPts val="0"/>
              </a:spcAft>
            </a:pPr>
            <a:r>
              <a:rPr lang="id-ID" sz="1200" dirty="0">
                <a:solidFill>
                  <a:schemeClr val="bg1"/>
                </a:solidFill>
                <a:latin typeface="Raleway" pitchFamily="2" charset="0"/>
              </a:rPr>
              <a:t>Corporate Office, </a:t>
            </a:r>
            <a:r>
              <a:rPr lang="en-IN" sz="1200" dirty="0">
                <a:solidFill>
                  <a:schemeClr val="bg1"/>
                </a:solidFill>
                <a:latin typeface="Raleway" pitchFamily="2" charset="0"/>
              </a:rPr>
              <a:t>H/335, </a:t>
            </a:r>
            <a:r>
              <a:rPr lang="en-IN" sz="1200" dirty="0" err="1">
                <a:solidFill>
                  <a:schemeClr val="bg1"/>
                </a:solidFill>
                <a:latin typeface="Raleway" pitchFamily="2" charset="0"/>
              </a:rPr>
              <a:t>Kanakia</a:t>
            </a:r>
            <a:r>
              <a:rPr lang="en-IN" sz="1200" dirty="0">
                <a:solidFill>
                  <a:schemeClr val="bg1"/>
                </a:solidFill>
                <a:latin typeface="Raleway" pitchFamily="2" charset="0"/>
              </a:rPr>
              <a:t> Zillion, LBS Marg, CST Road Junction, Kurla West, Mumbai 400070, India</a:t>
            </a:r>
          </a:p>
        </p:txBody>
      </p:sp>
      <p:pic>
        <p:nvPicPr>
          <p:cNvPr id="2097273" name="Picture 24"/>
          <p:cNvPicPr>
            <a:picLocks noChangeAspect="1"/>
          </p:cNvPicPr>
          <p:nvPr/>
        </p:nvPicPr>
        <p:blipFill>
          <a:blip r:embed="rId4" cstate="print"/>
          <a:stretch>
            <a:fillRect/>
          </a:stretch>
        </p:blipFill>
        <p:spPr>
          <a:xfrm>
            <a:off x="4246115" y="5089217"/>
            <a:ext cx="1234440" cy="822960"/>
          </a:xfrm>
          <a:prstGeom prst="rect">
            <a:avLst/>
          </a:prstGeom>
        </p:spPr>
      </p:pic>
      <p:pic>
        <p:nvPicPr>
          <p:cNvPr id="2097274" name="Picture 25"/>
          <p:cNvPicPr>
            <a:picLocks noChangeAspect="1"/>
          </p:cNvPicPr>
          <p:nvPr/>
        </p:nvPicPr>
        <p:blipFill rotWithShape="1">
          <a:blip r:embed="rId5" cstate="print"/>
          <a:srcRect l="207" t="25293" r="1507" b="25030"/>
          <a:stretch>
            <a:fillRect/>
          </a:stretch>
        </p:blipFill>
        <p:spPr>
          <a:xfrm>
            <a:off x="4246115" y="3474019"/>
            <a:ext cx="1234440" cy="822960"/>
          </a:xfrm>
          <a:prstGeom prst="rect">
            <a:avLst/>
          </a:prstGeom>
        </p:spPr>
      </p:pic>
      <p:sp>
        <p:nvSpPr>
          <p:cNvPr id="1049038" name="TextBox 33"/>
          <p:cNvSpPr txBox="1"/>
          <p:nvPr/>
        </p:nvSpPr>
        <p:spPr>
          <a:xfrm>
            <a:off x="710096" y="3851507"/>
            <a:ext cx="3291840" cy="646331"/>
          </a:xfrm>
          <a:prstGeom prst="rect">
            <a:avLst/>
          </a:prstGeom>
          <a:noFill/>
        </p:spPr>
        <p:txBody>
          <a:bodyPr wrap="square">
            <a:spAutoFit/>
          </a:bodyPr>
          <a:lstStyle/>
          <a:p>
            <a:r>
              <a:rPr lang="en-US" sz="1200" dirty="0">
                <a:solidFill>
                  <a:schemeClr val="bg1"/>
                </a:solidFill>
                <a:latin typeface="Raleway" pitchFamily="2" charset="0"/>
              </a:rPr>
              <a:t>A-63-01-05-03 Flamingo Villas</a:t>
            </a:r>
          </a:p>
          <a:p>
            <a:r>
              <a:rPr lang="en-US" sz="1200" dirty="0">
                <a:solidFill>
                  <a:schemeClr val="bg1"/>
                </a:solidFill>
                <a:latin typeface="Raleway" pitchFamily="2" charset="0"/>
              </a:rPr>
              <a:t>Ajman Media City Free Zone, P. O. Box 4422</a:t>
            </a:r>
          </a:p>
          <a:p>
            <a:r>
              <a:rPr lang="en-US" sz="1200" dirty="0">
                <a:solidFill>
                  <a:schemeClr val="bg1"/>
                </a:solidFill>
                <a:latin typeface="Raleway" pitchFamily="2" charset="0"/>
              </a:rPr>
              <a:t>United Arab Emirate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4" name="Rectangle 40"/>
          <p:cNvSpPr/>
          <p:nvPr/>
        </p:nvSpPr>
        <p:spPr>
          <a:xfrm>
            <a:off x="1019087" y="139725"/>
            <a:ext cx="10301655" cy="584775"/>
          </a:xfrm>
          <a:prstGeom prst="rect">
            <a:avLst/>
          </a:prstGeom>
        </p:spPr>
        <p:txBody>
          <a:bodyPr wrap="square">
            <a:spAutoFit/>
          </a:bodyPr>
          <a:lstStyle/>
          <a:p>
            <a:pPr algn="ctr"/>
            <a:r>
              <a:rPr lang="en-US" sz="3200" b="1" dirty="0">
                <a:solidFill>
                  <a:srgbClr val="5791D8"/>
                </a:solidFill>
                <a:latin typeface="+mj-lt"/>
              </a:rPr>
              <a:t>RISK </a:t>
            </a:r>
            <a:r>
              <a:rPr lang="en-US" sz="3200" b="1" dirty="0">
                <a:latin typeface="+mj-lt"/>
              </a:rPr>
              <a:t>PROFILE – THE NEED </a:t>
            </a:r>
            <a:r>
              <a:rPr lang="en-US" sz="3200" b="1" dirty="0">
                <a:solidFill>
                  <a:srgbClr val="5791D8"/>
                </a:solidFill>
                <a:latin typeface="+mj-lt"/>
              </a:rPr>
              <a:t>FOR ROBUSTNESS</a:t>
            </a:r>
          </a:p>
        </p:txBody>
      </p:sp>
      <p:grpSp>
        <p:nvGrpSpPr>
          <p:cNvPr id="101" name="Group 47"/>
          <p:cNvGrpSpPr/>
          <p:nvPr/>
        </p:nvGrpSpPr>
        <p:grpSpPr>
          <a:xfrm>
            <a:off x="5719027" y="906879"/>
            <a:ext cx="753947" cy="224245"/>
            <a:chOff x="5719027" y="4173124"/>
            <a:chExt cx="753947" cy="261258"/>
          </a:xfrm>
        </p:grpSpPr>
        <p:sp>
          <p:nvSpPr>
            <p:cNvPr id="1048635" name="Isosceles Triangle 53"/>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36" name="Isosceles Triangle 54"/>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37" name="Isosceles Triangle 55"/>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Freeform: Shape 4">
            <a:extLst>
              <a:ext uri="{FF2B5EF4-FFF2-40B4-BE49-F238E27FC236}">
                <a16:creationId xmlns:a16="http://schemas.microsoft.com/office/drawing/2014/main" id="{5B2B20E0-169D-E0B6-F843-9C38604ADB70}"/>
              </a:ext>
            </a:extLst>
          </p:cNvPr>
          <p:cNvSpPr/>
          <p:nvPr/>
        </p:nvSpPr>
        <p:spPr>
          <a:xfrm>
            <a:off x="4069298" y="1313502"/>
            <a:ext cx="4356463" cy="2282285"/>
          </a:xfrm>
          <a:custGeom>
            <a:avLst/>
            <a:gdLst>
              <a:gd name="connsiteX0" fmla="*/ 0 w 4356463"/>
              <a:gd name="connsiteY0" fmla="*/ 285286 h 2282285"/>
              <a:gd name="connsiteX1" fmla="*/ 3215321 w 4356463"/>
              <a:gd name="connsiteY1" fmla="*/ 285286 h 2282285"/>
              <a:gd name="connsiteX2" fmla="*/ 3215321 w 4356463"/>
              <a:gd name="connsiteY2" fmla="*/ 0 h 2282285"/>
              <a:gd name="connsiteX3" fmla="*/ 4356463 w 4356463"/>
              <a:gd name="connsiteY3" fmla="*/ 1141143 h 2282285"/>
              <a:gd name="connsiteX4" fmla="*/ 3215321 w 4356463"/>
              <a:gd name="connsiteY4" fmla="*/ 2282285 h 2282285"/>
              <a:gd name="connsiteX5" fmla="*/ 3215321 w 4356463"/>
              <a:gd name="connsiteY5" fmla="*/ 1996999 h 2282285"/>
              <a:gd name="connsiteX6" fmla="*/ 0 w 4356463"/>
              <a:gd name="connsiteY6" fmla="*/ 1996999 h 2282285"/>
              <a:gd name="connsiteX7" fmla="*/ 0 w 4356463"/>
              <a:gd name="connsiteY7" fmla="*/ 285286 h 228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6463" h="2282285">
                <a:moveTo>
                  <a:pt x="0" y="285286"/>
                </a:moveTo>
                <a:lnTo>
                  <a:pt x="3215321" y="285286"/>
                </a:lnTo>
                <a:lnTo>
                  <a:pt x="3215321" y="0"/>
                </a:lnTo>
                <a:lnTo>
                  <a:pt x="4356463" y="1141143"/>
                </a:lnTo>
                <a:lnTo>
                  <a:pt x="3215321" y="2282285"/>
                </a:lnTo>
                <a:lnTo>
                  <a:pt x="3215321" y="1996999"/>
                </a:lnTo>
                <a:lnTo>
                  <a:pt x="0" y="1996999"/>
                </a:lnTo>
                <a:lnTo>
                  <a:pt x="0" y="285286"/>
                </a:lnTo>
                <a:close/>
              </a:path>
            </a:pathLst>
          </a:cu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2065" tIns="297351" rIns="867922" bIns="297351" numCol="1" spcCol="1270" anchor="t" anchorCtr="0">
            <a:noAutofit/>
          </a:bodyPr>
          <a:lstStyle/>
          <a:p>
            <a:pPr marL="171450" lvl="1" indent="-171450" algn="l" defTabSz="844550">
              <a:lnSpc>
                <a:spcPct val="90000"/>
              </a:lnSpc>
              <a:spcBef>
                <a:spcPct val="0"/>
              </a:spcBef>
              <a:spcAft>
                <a:spcPct val="15000"/>
              </a:spcAft>
              <a:buChar char="•"/>
            </a:pPr>
            <a:endParaRPr lang="en-IN" sz="1900" kern="1200" dirty="0"/>
          </a:p>
          <a:p>
            <a:pPr marL="171450" lvl="1" indent="-171450" algn="l" defTabSz="844550">
              <a:lnSpc>
                <a:spcPct val="90000"/>
              </a:lnSpc>
              <a:spcBef>
                <a:spcPct val="0"/>
              </a:spcBef>
              <a:spcAft>
                <a:spcPct val="15000"/>
              </a:spcAft>
              <a:buChar char="•"/>
            </a:pPr>
            <a:r>
              <a:rPr lang="en-IN" sz="1900" kern="1200" dirty="0"/>
              <a:t>Credit Risk</a:t>
            </a:r>
          </a:p>
          <a:p>
            <a:pPr marL="171450" lvl="1" indent="-171450" algn="l" defTabSz="844550">
              <a:lnSpc>
                <a:spcPct val="90000"/>
              </a:lnSpc>
              <a:spcBef>
                <a:spcPct val="0"/>
              </a:spcBef>
              <a:spcAft>
                <a:spcPct val="15000"/>
              </a:spcAft>
              <a:buChar char="•"/>
            </a:pPr>
            <a:r>
              <a:rPr lang="en-IN" sz="1900" kern="1200" dirty="0"/>
              <a:t>Market Risk</a:t>
            </a:r>
          </a:p>
          <a:p>
            <a:pPr marL="171450" lvl="1" indent="-171450" algn="l" defTabSz="844550">
              <a:lnSpc>
                <a:spcPct val="90000"/>
              </a:lnSpc>
              <a:spcBef>
                <a:spcPct val="0"/>
              </a:spcBef>
              <a:spcAft>
                <a:spcPct val="15000"/>
              </a:spcAft>
              <a:buChar char="•"/>
            </a:pPr>
            <a:r>
              <a:rPr lang="en-IN" sz="1900" kern="1200" dirty="0"/>
              <a:t>Operational Risk</a:t>
            </a:r>
          </a:p>
          <a:p>
            <a:pPr marL="171450" lvl="1" indent="-171450" algn="l" defTabSz="844550">
              <a:lnSpc>
                <a:spcPct val="90000"/>
              </a:lnSpc>
              <a:spcBef>
                <a:spcPct val="0"/>
              </a:spcBef>
              <a:spcAft>
                <a:spcPct val="15000"/>
              </a:spcAft>
              <a:buChar char="•"/>
            </a:pPr>
            <a:r>
              <a:rPr lang="en-IN" sz="1900" kern="1200" dirty="0"/>
              <a:t>Liquidity Risk</a:t>
            </a:r>
          </a:p>
        </p:txBody>
      </p:sp>
      <p:sp>
        <p:nvSpPr>
          <p:cNvPr id="6" name="Freeform: Shape 5">
            <a:extLst>
              <a:ext uri="{FF2B5EF4-FFF2-40B4-BE49-F238E27FC236}">
                <a16:creationId xmlns:a16="http://schemas.microsoft.com/office/drawing/2014/main" id="{3FAD3DC8-DDA6-651B-173F-2C21D19F5E39}"/>
              </a:ext>
            </a:extLst>
          </p:cNvPr>
          <p:cNvSpPr/>
          <p:nvPr/>
        </p:nvSpPr>
        <p:spPr>
          <a:xfrm>
            <a:off x="1164989" y="1313502"/>
            <a:ext cx="2904309" cy="2282285"/>
          </a:xfrm>
          <a:custGeom>
            <a:avLst/>
            <a:gdLst>
              <a:gd name="connsiteX0" fmla="*/ 0 w 2904309"/>
              <a:gd name="connsiteY0" fmla="*/ 380388 h 2282285"/>
              <a:gd name="connsiteX1" fmla="*/ 380388 w 2904309"/>
              <a:gd name="connsiteY1" fmla="*/ 0 h 2282285"/>
              <a:gd name="connsiteX2" fmla="*/ 2523921 w 2904309"/>
              <a:gd name="connsiteY2" fmla="*/ 0 h 2282285"/>
              <a:gd name="connsiteX3" fmla="*/ 2904309 w 2904309"/>
              <a:gd name="connsiteY3" fmla="*/ 380388 h 2282285"/>
              <a:gd name="connsiteX4" fmla="*/ 2904309 w 2904309"/>
              <a:gd name="connsiteY4" fmla="*/ 1901897 h 2282285"/>
              <a:gd name="connsiteX5" fmla="*/ 2523921 w 2904309"/>
              <a:gd name="connsiteY5" fmla="*/ 2282285 h 2282285"/>
              <a:gd name="connsiteX6" fmla="*/ 380388 w 2904309"/>
              <a:gd name="connsiteY6" fmla="*/ 2282285 h 2282285"/>
              <a:gd name="connsiteX7" fmla="*/ 0 w 2904309"/>
              <a:gd name="connsiteY7" fmla="*/ 1901897 h 2282285"/>
              <a:gd name="connsiteX8" fmla="*/ 0 w 2904309"/>
              <a:gd name="connsiteY8" fmla="*/ 380388 h 228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4309" h="2282285">
                <a:moveTo>
                  <a:pt x="0" y="380388"/>
                </a:moveTo>
                <a:cubicBezTo>
                  <a:pt x="0" y="170306"/>
                  <a:pt x="170306" y="0"/>
                  <a:pt x="380388" y="0"/>
                </a:cubicBezTo>
                <a:lnTo>
                  <a:pt x="2523921" y="0"/>
                </a:lnTo>
                <a:cubicBezTo>
                  <a:pt x="2734003" y="0"/>
                  <a:pt x="2904309" y="170306"/>
                  <a:pt x="2904309" y="380388"/>
                </a:cubicBezTo>
                <a:lnTo>
                  <a:pt x="2904309" y="1901897"/>
                </a:lnTo>
                <a:cubicBezTo>
                  <a:pt x="2904309" y="2111979"/>
                  <a:pt x="2734003" y="2282285"/>
                  <a:pt x="2523921" y="2282285"/>
                </a:cubicBezTo>
                <a:lnTo>
                  <a:pt x="380388" y="2282285"/>
                </a:lnTo>
                <a:cubicBezTo>
                  <a:pt x="170306" y="2282285"/>
                  <a:pt x="0" y="2111979"/>
                  <a:pt x="0" y="1901897"/>
                </a:cubicBezTo>
                <a:lnTo>
                  <a:pt x="0" y="380388"/>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71432" tIns="191422" rIns="271432" bIns="191422" numCol="1" spcCol="1270" anchor="ctr" anchorCtr="0">
            <a:noAutofit/>
          </a:bodyPr>
          <a:lstStyle/>
          <a:p>
            <a:pPr marL="0" lvl="0" indent="0" algn="ctr" defTabSz="1866900">
              <a:lnSpc>
                <a:spcPct val="90000"/>
              </a:lnSpc>
              <a:spcBef>
                <a:spcPct val="0"/>
              </a:spcBef>
              <a:spcAft>
                <a:spcPct val="35000"/>
              </a:spcAft>
              <a:buNone/>
            </a:pPr>
            <a:r>
              <a:rPr lang="en-IN" sz="4200" kern="1200" dirty="0"/>
              <a:t>Common</a:t>
            </a:r>
          </a:p>
        </p:txBody>
      </p:sp>
      <p:sp>
        <p:nvSpPr>
          <p:cNvPr id="7" name="Freeform: Shape 6">
            <a:extLst>
              <a:ext uri="{FF2B5EF4-FFF2-40B4-BE49-F238E27FC236}">
                <a16:creationId xmlns:a16="http://schemas.microsoft.com/office/drawing/2014/main" id="{B1C9BB94-4FDA-DF33-1ED7-EE5B93259A18}"/>
              </a:ext>
            </a:extLst>
          </p:cNvPr>
          <p:cNvSpPr/>
          <p:nvPr/>
        </p:nvSpPr>
        <p:spPr>
          <a:xfrm>
            <a:off x="4069298" y="3824016"/>
            <a:ext cx="4356463" cy="2282285"/>
          </a:xfrm>
          <a:custGeom>
            <a:avLst/>
            <a:gdLst>
              <a:gd name="connsiteX0" fmla="*/ 0 w 4356463"/>
              <a:gd name="connsiteY0" fmla="*/ 285286 h 2282285"/>
              <a:gd name="connsiteX1" fmla="*/ 3215321 w 4356463"/>
              <a:gd name="connsiteY1" fmla="*/ 285286 h 2282285"/>
              <a:gd name="connsiteX2" fmla="*/ 3215321 w 4356463"/>
              <a:gd name="connsiteY2" fmla="*/ 0 h 2282285"/>
              <a:gd name="connsiteX3" fmla="*/ 4356463 w 4356463"/>
              <a:gd name="connsiteY3" fmla="*/ 1141143 h 2282285"/>
              <a:gd name="connsiteX4" fmla="*/ 3215321 w 4356463"/>
              <a:gd name="connsiteY4" fmla="*/ 2282285 h 2282285"/>
              <a:gd name="connsiteX5" fmla="*/ 3215321 w 4356463"/>
              <a:gd name="connsiteY5" fmla="*/ 1996999 h 2282285"/>
              <a:gd name="connsiteX6" fmla="*/ 0 w 4356463"/>
              <a:gd name="connsiteY6" fmla="*/ 1996999 h 2282285"/>
              <a:gd name="connsiteX7" fmla="*/ 0 w 4356463"/>
              <a:gd name="connsiteY7" fmla="*/ 285286 h 228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6463" h="2282285">
                <a:moveTo>
                  <a:pt x="0" y="285286"/>
                </a:moveTo>
                <a:lnTo>
                  <a:pt x="3215321" y="285286"/>
                </a:lnTo>
                <a:lnTo>
                  <a:pt x="3215321" y="0"/>
                </a:lnTo>
                <a:lnTo>
                  <a:pt x="4356463" y="1141143"/>
                </a:lnTo>
                <a:lnTo>
                  <a:pt x="3215321" y="2282285"/>
                </a:lnTo>
                <a:lnTo>
                  <a:pt x="3215321" y="1996999"/>
                </a:lnTo>
                <a:lnTo>
                  <a:pt x="0" y="1996999"/>
                </a:lnTo>
                <a:lnTo>
                  <a:pt x="0" y="285286"/>
                </a:lnTo>
                <a:close/>
              </a:path>
            </a:pathLst>
          </a:custGeom>
        </p:spPr>
        <p:style>
          <a:lnRef idx="2">
            <a:schemeClr val="accent5">
              <a:tint val="40000"/>
              <a:alpha val="90000"/>
              <a:hueOff val="-7391755"/>
              <a:satOff val="-12816"/>
              <a:lumOff val="-1289"/>
              <a:alphaOff val="0"/>
            </a:schemeClr>
          </a:lnRef>
          <a:fillRef idx="1">
            <a:schemeClr val="accent5">
              <a:tint val="40000"/>
              <a:alpha val="90000"/>
              <a:hueOff val="-7391755"/>
              <a:satOff val="-12816"/>
              <a:lumOff val="-1289"/>
              <a:alphaOff val="0"/>
            </a:schemeClr>
          </a:fillRef>
          <a:effectRef idx="0">
            <a:schemeClr val="accent5">
              <a:tint val="40000"/>
              <a:alpha val="90000"/>
              <a:hueOff val="-7391755"/>
              <a:satOff val="-12816"/>
              <a:lumOff val="-1289"/>
              <a:alphaOff val="0"/>
            </a:schemeClr>
          </a:effectRef>
          <a:fontRef idx="minor">
            <a:schemeClr val="dk1">
              <a:hueOff val="0"/>
              <a:satOff val="0"/>
              <a:lumOff val="0"/>
              <a:alphaOff val="0"/>
            </a:schemeClr>
          </a:fontRef>
        </p:style>
        <p:txBody>
          <a:bodyPr spcFirstLastPara="0" vert="horz" wrap="square" lIns="12065" tIns="297351" rIns="867922" bIns="297351" numCol="1" spcCol="1270" anchor="t" anchorCtr="0">
            <a:noAutofit/>
          </a:bodyPr>
          <a:lstStyle/>
          <a:p>
            <a:pPr marL="171450" lvl="1" indent="-171450" algn="l" defTabSz="844550">
              <a:lnSpc>
                <a:spcPct val="90000"/>
              </a:lnSpc>
              <a:spcBef>
                <a:spcPct val="0"/>
              </a:spcBef>
              <a:spcAft>
                <a:spcPct val="15000"/>
              </a:spcAft>
              <a:buChar char="•"/>
            </a:pPr>
            <a:r>
              <a:rPr lang="en-IN" sz="1900" kern="1200" dirty="0"/>
              <a:t>Rate of return Risk</a:t>
            </a:r>
          </a:p>
          <a:p>
            <a:pPr marL="171450" lvl="1" indent="-171450" algn="l" defTabSz="844550">
              <a:lnSpc>
                <a:spcPct val="90000"/>
              </a:lnSpc>
              <a:spcBef>
                <a:spcPct val="0"/>
              </a:spcBef>
              <a:spcAft>
                <a:spcPct val="15000"/>
              </a:spcAft>
              <a:buChar char="•"/>
            </a:pPr>
            <a:r>
              <a:rPr lang="en-IN" sz="1900" kern="1200" dirty="0"/>
              <a:t>Displaced Commercial Risk</a:t>
            </a:r>
          </a:p>
          <a:p>
            <a:pPr marL="171450" lvl="1" indent="-171450" algn="l" defTabSz="844550">
              <a:lnSpc>
                <a:spcPct val="90000"/>
              </a:lnSpc>
              <a:spcBef>
                <a:spcPct val="0"/>
              </a:spcBef>
              <a:spcAft>
                <a:spcPct val="15000"/>
              </a:spcAft>
              <a:buChar char="•"/>
            </a:pPr>
            <a:r>
              <a:rPr lang="en-IN" sz="1900" kern="1200" dirty="0"/>
              <a:t>Equity Investment Risk</a:t>
            </a:r>
          </a:p>
          <a:p>
            <a:pPr marL="171450" lvl="1" indent="-171450" algn="l" defTabSz="844550">
              <a:lnSpc>
                <a:spcPct val="90000"/>
              </a:lnSpc>
              <a:spcBef>
                <a:spcPct val="0"/>
              </a:spcBef>
              <a:spcAft>
                <a:spcPct val="15000"/>
              </a:spcAft>
              <a:buChar char="•"/>
            </a:pPr>
            <a:r>
              <a:rPr lang="en-IN" sz="1900" kern="1200" dirty="0"/>
              <a:t>Inventory Risk</a:t>
            </a:r>
          </a:p>
          <a:p>
            <a:pPr marL="171450" lvl="1" indent="-171450" algn="l" defTabSz="844550">
              <a:lnSpc>
                <a:spcPct val="90000"/>
              </a:lnSpc>
              <a:spcBef>
                <a:spcPct val="0"/>
              </a:spcBef>
              <a:spcAft>
                <a:spcPct val="15000"/>
              </a:spcAft>
              <a:buChar char="•"/>
            </a:pPr>
            <a:r>
              <a:rPr lang="en-IN" sz="1900" kern="1200" dirty="0"/>
              <a:t>Shariah noncompliance Risk</a:t>
            </a:r>
          </a:p>
        </p:txBody>
      </p:sp>
      <p:sp>
        <p:nvSpPr>
          <p:cNvPr id="8" name="Freeform: Shape 7">
            <a:extLst>
              <a:ext uri="{FF2B5EF4-FFF2-40B4-BE49-F238E27FC236}">
                <a16:creationId xmlns:a16="http://schemas.microsoft.com/office/drawing/2014/main" id="{42D57ECF-E794-2220-FFD9-7BC5C45A2E63}"/>
              </a:ext>
            </a:extLst>
          </p:cNvPr>
          <p:cNvSpPr/>
          <p:nvPr/>
        </p:nvSpPr>
        <p:spPr>
          <a:xfrm>
            <a:off x="1164989" y="3824016"/>
            <a:ext cx="2904309" cy="2282285"/>
          </a:xfrm>
          <a:custGeom>
            <a:avLst/>
            <a:gdLst>
              <a:gd name="connsiteX0" fmla="*/ 0 w 2904309"/>
              <a:gd name="connsiteY0" fmla="*/ 380388 h 2282285"/>
              <a:gd name="connsiteX1" fmla="*/ 380388 w 2904309"/>
              <a:gd name="connsiteY1" fmla="*/ 0 h 2282285"/>
              <a:gd name="connsiteX2" fmla="*/ 2523921 w 2904309"/>
              <a:gd name="connsiteY2" fmla="*/ 0 h 2282285"/>
              <a:gd name="connsiteX3" fmla="*/ 2904309 w 2904309"/>
              <a:gd name="connsiteY3" fmla="*/ 380388 h 2282285"/>
              <a:gd name="connsiteX4" fmla="*/ 2904309 w 2904309"/>
              <a:gd name="connsiteY4" fmla="*/ 1901897 h 2282285"/>
              <a:gd name="connsiteX5" fmla="*/ 2523921 w 2904309"/>
              <a:gd name="connsiteY5" fmla="*/ 2282285 h 2282285"/>
              <a:gd name="connsiteX6" fmla="*/ 380388 w 2904309"/>
              <a:gd name="connsiteY6" fmla="*/ 2282285 h 2282285"/>
              <a:gd name="connsiteX7" fmla="*/ 0 w 2904309"/>
              <a:gd name="connsiteY7" fmla="*/ 1901897 h 2282285"/>
              <a:gd name="connsiteX8" fmla="*/ 0 w 2904309"/>
              <a:gd name="connsiteY8" fmla="*/ 380388 h 228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4309" h="2282285">
                <a:moveTo>
                  <a:pt x="0" y="380388"/>
                </a:moveTo>
                <a:cubicBezTo>
                  <a:pt x="0" y="170306"/>
                  <a:pt x="170306" y="0"/>
                  <a:pt x="380388" y="0"/>
                </a:cubicBezTo>
                <a:lnTo>
                  <a:pt x="2523921" y="0"/>
                </a:lnTo>
                <a:cubicBezTo>
                  <a:pt x="2734003" y="0"/>
                  <a:pt x="2904309" y="170306"/>
                  <a:pt x="2904309" y="380388"/>
                </a:cubicBezTo>
                <a:lnTo>
                  <a:pt x="2904309" y="1901897"/>
                </a:lnTo>
                <a:cubicBezTo>
                  <a:pt x="2904309" y="2111979"/>
                  <a:pt x="2734003" y="2282285"/>
                  <a:pt x="2523921" y="2282285"/>
                </a:cubicBezTo>
                <a:lnTo>
                  <a:pt x="380388" y="2282285"/>
                </a:lnTo>
                <a:cubicBezTo>
                  <a:pt x="170306" y="2282285"/>
                  <a:pt x="0" y="2111979"/>
                  <a:pt x="0" y="1901897"/>
                </a:cubicBezTo>
                <a:lnTo>
                  <a:pt x="0" y="380388"/>
                </a:lnTo>
                <a:close/>
              </a:path>
            </a:pathLst>
          </a:custGeom>
        </p:spPr>
        <p:style>
          <a:lnRef idx="2">
            <a:schemeClr val="lt1">
              <a:hueOff val="0"/>
              <a:satOff val="0"/>
              <a:lumOff val="0"/>
              <a:alphaOff val="0"/>
            </a:schemeClr>
          </a:lnRef>
          <a:fillRef idx="1">
            <a:schemeClr val="accent5">
              <a:hueOff val="-7353344"/>
              <a:satOff val="-10228"/>
              <a:lumOff val="-3922"/>
              <a:alphaOff val="0"/>
            </a:schemeClr>
          </a:fillRef>
          <a:effectRef idx="0">
            <a:schemeClr val="accent5">
              <a:hueOff val="-7353344"/>
              <a:satOff val="-10228"/>
              <a:lumOff val="-3922"/>
              <a:alphaOff val="0"/>
            </a:schemeClr>
          </a:effectRef>
          <a:fontRef idx="minor">
            <a:schemeClr val="lt1"/>
          </a:fontRef>
        </p:style>
        <p:txBody>
          <a:bodyPr spcFirstLastPara="0" vert="horz" wrap="square" lIns="271432" tIns="191422" rIns="271432" bIns="191422" numCol="1" spcCol="1270" anchor="ctr" anchorCtr="0">
            <a:noAutofit/>
          </a:bodyPr>
          <a:lstStyle/>
          <a:p>
            <a:pPr marL="0" lvl="0" indent="0" algn="ctr" defTabSz="1866900">
              <a:lnSpc>
                <a:spcPct val="90000"/>
              </a:lnSpc>
              <a:spcBef>
                <a:spcPct val="0"/>
              </a:spcBef>
              <a:spcAft>
                <a:spcPct val="35000"/>
              </a:spcAft>
              <a:buNone/>
            </a:pPr>
            <a:r>
              <a:rPr lang="en-IN" sz="4200" kern="1200" dirty="0"/>
              <a:t> Unique</a:t>
            </a:r>
          </a:p>
        </p:txBody>
      </p:sp>
      <p:sp>
        <p:nvSpPr>
          <p:cNvPr id="4" name="TextBox 3">
            <a:extLst>
              <a:ext uri="{FF2B5EF4-FFF2-40B4-BE49-F238E27FC236}">
                <a16:creationId xmlns:a16="http://schemas.microsoft.com/office/drawing/2014/main" id="{6AA07872-4394-42AC-D357-51D596E01F65}"/>
              </a:ext>
            </a:extLst>
          </p:cNvPr>
          <p:cNvSpPr txBox="1"/>
          <p:nvPr/>
        </p:nvSpPr>
        <p:spPr>
          <a:xfrm rot="5400000">
            <a:off x="8095853" y="3487322"/>
            <a:ext cx="4325299"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IN" dirty="0"/>
              <a:t>Islamic Banks &amp; Financial Institutions </a:t>
            </a:r>
          </a:p>
        </p:txBody>
      </p:sp>
    </p:spTree>
    <p:extLst>
      <p:ext uri="{BB962C8B-B14F-4D97-AF65-F5344CB8AC3E}">
        <p14:creationId xmlns:p14="http://schemas.microsoft.com/office/powerpoint/2010/main" val="737515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4" name="Rectangle 40"/>
          <p:cNvSpPr/>
          <p:nvPr/>
        </p:nvSpPr>
        <p:spPr>
          <a:xfrm>
            <a:off x="919843" y="286928"/>
            <a:ext cx="10352313" cy="584775"/>
          </a:xfrm>
          <a:prstGeom prst="rect">
            <a:avLst/>
          </a:prstGeom>
        </p:spPr>
        <p:txBody>
          <a:bodyPr wrap="square">
            <a:spAutoFit/>
          </a:bodyPr>
          <a:lstStyle/>
          <a:p>
            <a:pPr algn="ctr"/>
            <a:r>
              <a:rPr lang="en-US" sz="3200" b="1" dirty="0">
                <a:solidFill>
                  <a:srgbClr val="5791D8"/>
                </a:solidFill>
                <a:latin typeface="+mj-lt"/>
              </a:rPr>
              <a:t>ASSET </a:t>
            </a:r>
            <a:r>
              <a:rPr lang="en-US" sz="3200" b="1" dirty="0">
                <a:latin typeface="+mj-lt"/>
              </a:rPr>
              <a:t>LIABILITY CHALLENGES / </a:t>
            </a:r>
            <a:r>
              <a:rPr lang="en-US" sz="3200" b="1" dirty="0">
                <a:solidFill>
                  <a:srgbClr val="5791D8"/>
                </a:solidFill>
                <a:latin typeface="+mj-lt"/>
              </a:rPr>
              <a:t>OPPORTUNITY</a:t>
            </a:r>
            <a:endParaRPr lang="en-US" sz="3200" b="1" dirty="0">
              <a:latin typeface="+mj-lt"/>
            </a:endParaRPr>
          </a:p>
        </p:txBody>
      </p:sp>
      <p:grpSp>
        <p:nvGrpSpPr>
          <p:cNvPr id="101" name="Group 47"/>
          <p:cNvGrpSpPr/>
          <p:nvPr/>
        </p:nvGrpSpPr>
        <p:grpSpPr>
          <a:xfrm>
            <a:off x="5719027" y="906879"/>
            <a:ext cx="753947" cy="224245"/>
            <a:chOff x="5719027" y="4173124"/>
            <a:chExt cx="753947" cy="261258"/>
          </a:xfrm>
        </p:grpSpPr>
        <p:sp>
          <p:nvSpPr>
            <p:cNvPr id="1048635" name="Isosceles Triangle 53"/>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36" name="Isosceles Triangle 54"/>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37" name="Isosceles Triangle 55"/>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A51D944D-6791-B92D-A8E1-1D229D97E7E2}"/>
              </a:ext>
            </a:extLst>
          </p:cNvPr>
          <p:cNvSpPr txBox="1"/>
          <p:nvPr/>
        </p:nvSpPr>
        <p:spPr>
          <a:xfrm>
            <a:off x="762000" y="1458686"/>
            <a:ext cx="9684939" cy="4247317"/>
          </a:xfrm>
          <a:prstGeom prst="rect">
            <a:avLst/>
          </a:prstGeom>
          <a:noFill/>
        </p:spPr>
        <p:txBody>
          <a:bodyPr wrap="square">
            <a:spAutoFit/>
          </a:bodyPr>
          <a:lstStyle/>
          <a:p>
            <a:pPr marL="285750" indent="-285750">
              <a:buFont typeface="Wingdings" panose="05000000000000000000" pitchFamily="2" charset="2"/>
              <a:buChar char="q"/>
            </a:pPr>
            <a:r>
              <a:rPr lang="en-IN" dirty="0"/>
              <a:t>Profit rate risk </a:t>
            </a:r>
          </a:p>
          <a:p>
            <a:endParaRPr lang="en-IN" dirty="0"/>
          </a:p>
          <a:p>
            <a:pPr marL="285750" indent="-285750">
              <a:buFont typeface="Wingdings" panose="05000000000000000000" pitchFamily="2" charset="2"/>
              <a:buChar char="q"/>
            </a:pPr>
            <a:r>
              <a:rPr lang="en-IN" dirty="0"/>
              <a:t>Duration analysis</a:t>
            </a:r>
          </a:p>
          <a:p>
            <a:endParaRPr lang="en-IN" dirty="0"/>
          </a:p>
          <a:p>
            <a:pPr marL="285750" indent="-285750">
              <a:buFont typeface="Wingdings" panose="05000000000000000000" pitchFamily="2" charset="2"/>
              <a:buChar char="q"/>
            </a:pPr>
            <a:r>
              <a:rPr lang="en-IN" dirty="0"/>
              <a:t>Net interest income impact analysis</a:t>
            </a:r>
          </a:p>
          <a:p>
            <a:endParaRPr lang="en-IN" dirty="0"/>
          </a:p>
          <a:p>
            <a:pPr marL="285750" indent="-285750">
              <a:buFont typeface="Wingdings" panose="05000000000000000000" pitchFamily="2" charset="2"/>
              <a:buChar char="q"/>
            </a:pPr>
            <a:r>
              <a:rPr lang="en-IN" dirty="0"/>
              <a:t>Economic value of equity reporting under multiple stress scenarios</a:t>
            </a:r>
          </a:p>
          <a:p>
            <a:endParaRPr lang="en-IN" dirty="0"/>
          </a:p>
          <a:p>
            <a:pPr marL="285750" indent="-285750">
              <a:buFont typeface="Wingdings" panose="05000000000000000000" pitchFamily="2" charset="2"/>
              <a:buChar char="§"/>
            </a:pPr>
            <a:r>
              <a:rPr lang="en-IN" dirty="0"/>
              <a:t>For liquidity risk there are following reports – </a:t>
            </a:r>
          </a:p>
          <a:p>
            <a:pPr marL="742950" lvl="1" indent="-285750">
              <a:buFont typeface="Arial" panose="020B0604020202020204" pitchFamily="34" charset="0"/>
              <a:buChar char="•"/>
            </a:pPr>
            <a:r>
              <a:rPr lang="en-IN" dirty="0"/>
              <a:t>Liquidity coverage ratio</a:t>
            </a:r>
          </a:p>
          <a:p>
            <a:pPr marL="742950" lvl="1" indent="-285750">
              <a:buFont typeface="Arial" panose="020B0604020202020204" pitchFamily="34" charset="0"/>
              <a:buChar char="•"/>
            </a:pPr>
            <a:r>
              <a:rPr lang="en-IN" dirty="0"/>
              <a:t>Net stable funding ratio</a:t>
            </a:r>
          </a:p>
          <a:p>
            <a:pPr marL="285750" indent="-285750">
              <a:buFont typeface="Wingdings" panose="05000000000000000000" pitchFamily="2" charset="2"/>
              <a:buChar char="§"/>
            </a:pPr>
            <a:r>
              <a:rPr lang="en-IN" dirty="0"/>
              <a:t>Structural liquidity report which is similar to maturity letter report</a:t>
            </a:r>
          </a:p>
          <a:p>
            <a:pPr marL="285750" indent="-285750">
              <a:buFont typeface="Wingdings" panose="05000000000000000000" pitchFamily="2" charset="2"/>
              <a:buChar char="§"/>
            </a:pPr>
            <a:r>
              <a:rPr lang="en-IN" dirty="0"/>
              <a:t>Net FX open position report</a:t>
            </a:r>
          </a:p>
          <a:p>
            <a:pPr marL="285750" indent="-285750">
              <a:buFont typeface="Wingdings" panose="05000000000000000000" pitchFamily="2" charset="2"/>
              <a:buChar char="§"/>
            </a:pPr>
            <a:r>
              <a:rPr lang="en-IN" dirty="0"/>
              <a:t>Core or stable deposits modelling using current accounts and savings accounts data</a:t>
            </a:r>
          </a:p>
          <a:p>
            <a:pPr marL="285750" indent="-285750">
              <a:buFont typeface="Wingdings" panose="05000000000000000000" pitchFamily="2" charset="2"/>
              <a:buChar char="§"/>
            </a:pPr>
            <a:r>
              <a:rPr lang="en-IN" dirty="0"/>
              <a:t>Dynamic liquidity report taking into account future profits and growth</a:t>
            </a:r>
          </a:p>
        </p:txBody>
      </p:sp>
    </p:spTree>
    <p:extLst>
      <p:ext uri="{BB962C8B-B14F-4D97-AF65-F5344CB8AC3E}">
        <p14:creationId xmlns:p14="http://schemas.microsoft.com/office/powerpoint/2010/main" val="3917100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2808071"/>
            <a:ext cx="12192000" cy="26239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3">
            <a:extLst>
              <a:ext uri="{FF2B5EF4-FFF2-40B4-BE49-F238E27FC236}">
                <a16:creationId xmlns:a16="http://schemas.microsoft.com/office/drawing/2014/main" id="{23AF9A01-842B-4DCE-849F-167C92513703}"/>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8884" t="208" r="47542" b="-208"/>
          <a:stretch/>
        </p:blipFill>
        <p:spPr>
          <a:xfrm>
            <a:off x="0" y="0"/>
            <a:ext cx="6927862" cy="6358848"/>
          </a:xfrm>
          <a:solidFill>
            <a:schemeClr val="bg1">
              <a:lumMod val="95000"/>
            </a:schemeClr>
          </a:solidFill>
          <a:effectLst>
            <a:outerShdw blurRad="50800" dist="38100" dir="2700000" algn="tl" rotWithShape="0">
              <a:prstClr val="black">
                <a:alpha val="40000"/>
              </a:prstClr>
            </a:outerShdw>
          </a:effectLst>
        </p:spPr>
      </p:pic>
      <p:sp>
        <p:nvSpPr>
          <p:cNvPr id="9" name="Rectangle 8"/>
          <p:cNvSpPr/>
          <p:nvPr/>
        </p:nvSpPr>
        <p:spPr>
          <a:xfrm>
            <a:off x="6174968" y="2933541"/>
            <a:ext cx="5952181" cy="2123658"/>
          </a:xfrm>
          <a:prstGeom prst="rect">
            <a:avLst/>
          </a:prstGeom>
        </p:spPr>
        <p:txBody>
          <a:bodyPr wrap="square">
            <a:spAutoFit/>
          </a:bodyPr>
          <a:lstStyle/>
          <a:p>
            <a:pPr algn="ctr"/>
            <a:r>
              <a:rPr lang="en-US" sz="2200" dirty="0">
                <a:latin typeface="Raleway"/>
              </a:rPr>
              <a:t>Avati </a:t>
            </a:r>
            <a:r>
              <a:rPr lang="en-IN" sz="2200" dirty="0">
                <a:solidFill>
                  <a:schemeClr val="bg2">
                    <a:lumMod val="25000"/>
                  </a:schemeClr>
                </a:solidFill>
                <a:latin typeface="Raleway" pitchFamily="2" charset="0"/>
              </a:rPr>
              <a:t>provides a specialized, niche, state of the art integrated risk management platform for active risk management, financial control and compliance for banks and financial institutions. </a:t>
            </a:r>
          </a:p>
          <a:p>
            <a:pPr algn="ctr"/>
            <a:endParaRPr lang="en-US" sz="2200" dirty="0">
              <a:latin typeface="Raleway"/>
            </a:endParaRPr>
          </a:p>
        </p:txBody>
      </p:sp>
      <p:grpSp>
        <p:nvGrpSpPr>
          <p:cNvPr id="10" name="Group 9">
            <a:extLst>
              <a:ext uri="{FF2B5EF4-FFF2-40B4-BE49-F238E27FC236}">
                <a16:creationId xmlns:a16="http://schemas.microsoft.com/office/drawing/2014/main" id="{80949367-602E-468E-9A76-3FD7202AA297}"/>
              </a:ext>
            </a:extLst>
          </p:cNvPr>
          <p:cNvGrpSpPr/>
          <p:nvPr/>
        </p:nvGrpSpPr>
        <p:grpSpPr>
          <a:xfrm>
            <a:off x="6978662" y="1257947"/>
            <a:ext cx="5098741" cy="1406871"/>
            <a:chOff x="6927862" y="948164"/>
            <a:chExt cx="5098741" cy="1406871"/>
          </a:xfrm>
        </p:grpSpPr>
        <p:sp>
          <p:nvSpPr>
            <p:cNvPr id="6" name="TextBox 5"/>
            <p:cNvSpPr txBox="1"/>
            <p:nvPr/>
          </p:nvSpPr>
          <p:spPr>
            <a:xfrm>
              <a:off x="6927862" y="948164"/>
              <a:ext cx="5098741" cy="1200329"/>
            </a:xfrm>
            <a:prstGeom prst="rect">
              <a:avLst/>
            </a:prstGeom>
            <a:noFill/>
          </p:spPr>
          <p:txBody>
            <a:bodyPr wrap="square" rtlCol="0">
              <a:spAutoFit/>
            </a:bodyPr>
            <a:lstStyle/>
            <a:p>
              <a:pPr algn="ctr"/>
              <a:r>
                <a:rPr lang="en-US" sz="3600" b="1" dirty="0">
                  <a:solidFill>
                    <a:srgbClr val="5791D8"/>
                  </a:solidFill>
                  <a:latin typeface="+mj-lt"/>
                </a:rPr>
                <a:t>AVATI CONSULTING </a:t>
              </a:r>
              <a:r>
                <a:rPr lang="en-US" sz="3600" b="1" dirty="0">
                  <a:latin typeface="+mj-lt"/>
                </a:rPr>
                <a:t>SOLUTIONS</a:t>
              </a:r>
              <a:endParaRPr lang="en-US" sz="3600" dirty="0">
                <a:solidFill>
                  <a:schemeClr val="accent2">
                    <a:lumMod val="75000"/>
                  </a:schemeClr>
                </a:solidFill>
                <a:latin typeface="Montserrat Medium" panose="00000600000000000000" pitchFamily="50" charset="0"/>
              </a:endParaRPr>
            </a:p>
          </p:txBody>
        </p:sp>
        <p:grpSp>
          <p:nvGrpSpPr>
            <p:cNvPr id="21" name="Group 18">
              <a:extLst>
                <a:ext uri="{FF2B5EF4-FFF2-40B4-BE49-F238E27FC236}">
                  <a16:creationId xmlns:a16="http://schemas.microsoft.com/office/drawing/2014/main" id="{01A38962-DD4A-4D38-960D-2BDA4402C3A9}"/>
                </a:ext>
              </a:extLst>
            </p:cNvPr>
            <p:cNvGrpSpPr/>
            <p:nvPr/>
          </p:nvGrpSpPr>
          <p:grpSpPr>
            <a:xfrm>
              <a:off x="9100259" y="2093777"/>
              <a:ext cx="753947" cy="261258"/>
              <a:chOff x="5719027" y="4173124"/>
              <a:chExt cx="753947" cy="261258"/>
            </a:xfrm>
          </p:grpSpPr>
          <p:sp>
            <p:nvSpPr>
              <p:cNvPr id="22" name="Isosceles Triangle 19">
                <a:extLst>
                  <a:ext uri="{FF2B5EF4-FFF2-40B4-BE49-F238E27FC236}">
                    <a16:creationId xmlns:a16="http://schemas.microsoft.com/office/drawing/2014/main" id="{575D9563-772A-4E97-8FC2-770F1CDE137B}"/>
                  </a:ext>
                </a:extLst>
              </p:cNvPr>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0">
                <a:extLst>
                  <a:ext uri="{FF2B5EF4-FFF2-40B4-BE49-F238E27FC236}">
                    <a16:creationId xmlns:a16="http://schemas.microsoft.com/office/drawing/2014/main" id="{5DFDFAE4-853F-4604-A10B-E435275A316E}"/>
                  </a:ext>
                </a:extLst>
              </p:cNvPr>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1">
                <a:extLst>
                  <a:ext uri="{FF2B5EF4-FFF2-40B4-BE49-F238E27FC236}">
                    <a16:creationId xmlns:a16="http://schemas.microsoft.com/office/drawing/2014/main" id="{AA536563-D70A-42FA-9077-B28E59D2742C}"/>
                  </a:ext>
                </a:extLst>
              </p:cNvPr>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6" name="Picture 3">
            <a:extLst>
              <a:ext uri="{FF2B5EF4-FFF2-40B4-BE49-F238E27FC236}">
                <a16:creationId xmlns:a16="http://schemas.microsoft.com/office/drawing/2014/main" id="{0937A6D7-F9D2-4CBB-9575-203AD690E1E2}"/>
              </a:ext>
            </a:extLst>
          </p:cNvPr>
          <p:cNvPicPr>
            <a:picLocks noChangeAspect="1"/>
          </p:cNvPicPr>
          <p:nvPr/>
        </p:nvPicPr>
        <p:blipFill rotWithShape="1">
          <a:blip r:embed="rId3"/>
          <a:srcRect t="22084" b="36867"/>
          <a:stretch>
            <a:fillRect/>
          </a:stretch>
        </p:blipFill>
        <p:spPr>
          <a:xfrm>
            <a:off x="110177" y="6426364"/>
            <a:ext cx="1443003" cy="276378"/>
          </a:xfrm>
          <a:prstGeom prst="rect">
            <a:avLst/>
          </a:prstGeom>
          <a:effectLst>
            <a:reflection blurRad="6350" stA="50000" endA="300" endPos="65000" dir="5400000" sy="-100000" algn="bl" rotWithShape="0"/>
          </a:effectLst>
        </p:spPr>
      </p:pic>
      <p:pic>
        <p:nvPicPr>
          <p:cNvPr id="27" name="Picture 15">
            <a:extLst>
              <a:ext uri="{FF2B5EF4-FFF2-40B4-BE49-F238E27FC236}">
                <a16:creationId xmlns:a16="http://schemas.microsoft.com/office/drawing/2014/main" id="{7A33FAF9-4EEE-4402-AAFA-16FCACB8F6BF}"/>
              </a:ext>
            </a:extLst>
          </p:cNvPr>
          <p:cNvPicPr>
            <a:picLocks noChangeAspect="1"/>
          </p:cNvPicPr>
          <p:nvPr/>
        </p:nvPicPr>
        <p:blipFill rotWithShape="1">
          <a:blip r:embed="rId4" cstate="print"/>
          <a:srcRect l="16638" t="17440" r="19607" b="5712"/>
          <a:stretch>
            <a:fillRect/>
          </a:stretch>
        </p:blipFill>
        <p:spPr>
          <a:xfrm>
            <a:off x="11437046" y="6090272"/>
            <a:ext cx="644777" cy="732215"/>
          </a:xfrm>
          <a:prstGeom prst="rect">
            <a:avLst/>
          </a:prstGeom>
        </p:spPr>
      </p:pic>
      <p:grpSp>
        <p:nvGrpSpPr>
          <p:cNvPr id="2" name="Group 1">
            <a:extLst>
              <a:ext uri="{FF2B5EF4-FFF2-40B4-BE49-F238E27FC236}">
                <a16:creationId xmlns:a16="http://schemas.microsoft.com/office/drawing/2014/main" id="{08B801F3-C0E6-4489-B180-C23CC09BC799}"/>
              </a:ext>
            </a:extLst>
          </p:cNvPr>
          <p:cNvGrpSpPr/>
          <p:nvPr/>
        </p:nvGrpSpPr>
        <p:grpSpPr>
          <a:xfrm>
            <a:off x="8767950" y="4795384"/>
            <a:ext cx="1454933" cy="1273173"/>
            <a:chOff x="10627505" y="4647985"/>
            <a:chExt cx="1454933" cy="1273173"/>
          </a:xfrm>
        </p:grpSpPr>
        <p:sp>
          <p:nvSpPr>
            <p:cNvPr id="11" name="Freeform 5"/>
            <p:cNvSpPr>
              <a:spLocks noChangeAspect="1"/>
            </p:cNvSpPr>
            <p:nvPr/>
          </p:nvSpPr>
          <p:spPr bwMode="auto">
            <a:xfrm>
              <a:off x="10763297" y="4766813"/>
              <a:ext cx="1183350" cy="1035518"/>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solidFill>
              <a:srgbClr val="5791D8"/>
            </a:solid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8" name="Freeform 5">
              <a:extLst>
                <a:ext uri="{FF2B5EF4-FFF2-40B4-BE49-F238E27FC236}">
                  <a16:creationId xmlns:a16="http://schemas.microsoft.com/office/drawing/2014/main" id="{5F552317-4995-4C8C-96AB-8951424D171B}"/>
                </a:ext>
              </a:extLst>
            </p:cNvPr>
            <p:cNvSpPr>
              <a:spLocks noChangeAspect="1"/>
            </p:cNvSpPr>
            <p:nvPr/>
          </p:nvSpPr>
          <p:spPr bwMode="auto">
            <a:xfrm>
              <a:off x="10627505" y="4647985"/>
              <a:ext cx="1454933" cy="1273173"/>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noFill/>
            <a:ln w="28575">
              <a:solidFill>
                <a:schemeClr val="tx1"/>
              </a:solid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pic>
          <p:nvPicPr>
            <p:cNvPr id="13" name="Picture 12">
              <a:extLst>
                <a:ext uri="{FF2B5EF4-FFF2-40B4-BE49-F238E27FC236}">
                  <a16:creationId xmlns:a16="http://schemas.microsoft.com/office/drawing/2014/main" id="{4576C7B7-74BB-4FC2-9B4A-512D984219BA}"/>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85727" y="4915327"/>
              <a:ext cx="738488" cy="738488"/>
            </a:xfrm>
            <a:prstGeom prst="rect">
              <a:avLst/>
            </a:prstGeom>
          </p:spPr>
        </p:pic>
      </p:grpSp>
    </p:spTree>
    <p:extLst>
      <p:ext uri="{BB962C8B-B14F-4D97-AF65-F5344CB8AC3E}">
        <p14:creationId xmlns:p14="http://schemas.microsoft.com/office/powerpoint/2010/main" val="1087809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634" name="Rectangle 40"/>
          <p:cNvSpPr/>
          <p:nvPr/>
        </p:nvSpPr>
        <p:spPr>
          <a:xfrm>
            <a:off x="1465802" y="221272"/>
            <a:ext cx="9260396" cy="584775"/>
          </a:xfrm>
          <a:prstGeom prst="rect">
            <a:avLst/>
          </a:prstGeom>
        </p:spPr>
        <p:txBody>
          <a:bodyPr wrap="square">
            <a:spAutoFit/>
          </a:bodyPr>
          <a:lstStyle/>
          <a:p>
            <a:pPr algn="ctr"/>
            <a:r>
              <a:rPr lang="en-US" sz="3200" b="1" dirty="0">
                <a:solidFill>
                  <a:srgbClr val="5791D8"/>
                </a:solidFill>
                <a:latin typeface="+mj-lt"/>
              </a:rPr>
              <a:t>OUR UNIQUE </a:t>
            </a:r>
            <a:r>
              <a:rPr lang="en-US" sz="3200" b="1" dirty="0">
                <a:latin typeface="+mj-lt"/>
              </a:rPr>
              <a:t>PROPOSITION</a:t>
            </a:r>
          </a:p>
        </p:txBody>
      </p:sp>
      <p:grpSp>
        <p:nvGrpSpPr>
          <p:cNvPr id="101" name="Group 47"/>
          <p:cNvGrpSpPr/>
          <p:nvPr/>
        </p:nvGrpSpPr>
        <p:grpSpPr>
          <a:xfrm>
            <a:off x="5719027" y="906879"/>
            <a:ext cx="753947" cy="224245"/>
            <a:chOff x="5719027" y="4173124"/>
            <a:chExt cx="753947" cy="261258"/>
          </a:xfrm>
        </p:grpSpPr>
        <p:sp>
          <p:nvSpPr>
            <p:cNvPr id="1048635" name="Isosceles Triangle 53"/>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36" name="Isosceles Triangle 54"/>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37" name="Isosceles Triangle 55"/>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8638" name="Rectangle 33"/>
          <p:cNvSpPr/>
          <p:nvPr/>
        </p:nvSpPr>
        <p:spPr>
          <a:xfrm>
            <a:off x="3114344" y="3200709"/>
            <a:ext cx="913383" cy="45658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56" name="Freeform 5">
            <a:extLst>
              <a:ext uri="{FF2B5EF4-FFF2-40B4-BE49-F238E27FC236}">
                <a16:creationId xmlns:a16="http://schemas.microsoft.com/office/drawing/2014/main" id="{82606574-1712-4E58-9D7B-AC0037010FF2}"/>
              </a:ext>
            </a:extLst>
          </p:cNvPr>
          <p:cNvSpPr>
            <a:spLocks noChangeAspect="1"/>
          </p:cNvSpPr>
          <p:nvPr/>
        </p:nvSpPr>
        <p:spPr bwMode="auto">
          <a:xfrm>
            <a:off x="3784117" y="2836553"/>
            <a:ext cx="1696091" cy="1484204"/>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solidFill>
            <a:srgbClr val="5791D8"/>
          </a:solidFill>
          <a:ln>
            <a:noFill/>
          </a:ln>
          <a:effectLst>
            <a:outerShdw blurRad="63500" sx="101000" sy="101000" algn="ctr" rotWithShape="0">
              <a:prstClr val="black">
                <a:alpha val="35000"/>
              </a:prstClr>
            </a:outerShdw>
          </a:effectLst>
        </p:spPr>
        <p:txBody>
          <a:bodyPr vert="horz" wrap="square" lIns="91440" tIns="45720" rIns="91440" bIns="45720" numCol="1" anchor="b" anchorCtr="0" compatLnSpc="1">
            <a:prstTxWarp prst="textNoShape">
              <a:avLst/>
            </a:prstTxWarp>
          </a:bodyPr>
          <a:lstStyle/>
          <a:p>
            <a:pPr marL="0" lvl="0" indent="0" algn="ctr" defTabSz="622300">
              <a:lnSpc>
                <a:spcPct val="90000"/>
              </a:lnSpc>
              <a:spcBef>
                <a:spcPct val="0"/>
              </a:spcBef>
              <a:spcAft>
                <a:spcPct val="35000"/>
              </a:spcAft>
              <a:buNone/>
            </a:pPr>
            <a:r>
              <a:rPr lang="en-US" sz="1100" b="1" kern="1200" dirty="0">
                <a:solidFill>
                  <a:schemeClr val="bg1"/>
                </a:solidFill>
                <a:latin typeface="Raleway" pitchFamily="2" charset="0"/>
              </a:rPr>
              <a:t>TECHNOLOGY EXPERTISE </a:t>
            </a:r>
          </a:p>
        </p:txBody>
      </p:sp>
      <p:sp>
        <p:nvSpPr>
          <p:cNvPr id="57" name="Freeform 5">
            <a:extLst>
              <a:ext uri="{FF2B5EF4-FFF2-40B4-BE49-F238E27FC236}">
                <a16:creationId xmlns:a16="http://schemas.microsoft.com/office/drawing/2014/main" id="{8D289319-0538-4B0B-97ED-9E3406F97A97}"/>
              </a:ext>
            </a:extLst>
          </p:cNvPr>
          <p:cNvSpPr>
            <a:spLocks noChangeAspect="1"/>
          </p:cNvSpPr>
          <p:nvPr/>
        </p:nvSpPr>
        <p:spPr bwMode="auto">
          <a:xfrm>
            <a:off x="5008727" y="3616756"/>
            <a:ext cx="2226770" cy="1948587"/>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solidFill>
            <a:srgbClr val="383334"/>
          </a:solidFill>
          <a:ln>
            <a:noFill/>
          </a:ln>
          <a:effectLst>
            <a:outerShdw blurRad="63500" sx="101000" sy="101000" algn="ctr" rotWithShape="0">
              <a:prstClr val="black">
                <a:alpha val="35000"/>
              </a:prstClr>
            </a:outerShdw>
          </a:effectLst>
        </p:spPr>
        <p:txBody>
          <a:bodyPr vert="horz" wrap="square" lIns="91440" tIns="45720" rIns="91440" bIns="45720" numCol="1" anchor="b" anchorCtr="0" compatLnSpc="1">
            <a:prstTxWarp prst="textNoShape">
              <a:avLst/>
            </a:prstTxWarp>
          </a:bodyPr>
          <a:lstStyle/>
          <a:p>
            <a:pPr algn="ctr"/>
            <a:r>
              <a:rPr lang="en-US" sz="1800" b="1" kern="1200">
                <a:solidFill>
                  <a:schemeClr val="bg1"/>
                </a:solidFill>
                <a:latin typeface="Raleway" pitchFamily="2" charset="0"/>
              </a:rPr>
              <a:t> PRODUCT DESIGN</a:t>
            </a:r>
            <a:endParaRPr lang="en-US">
              <a:solidFill>
                <a:schemeClr val="bg1"/>
              </a:solidFill>
            </a:endParaRPr>
          </a:p>
        </p:txBody>
      </p:sp>
      <p:sp>
        <p:nvSpPr>
          <p:cNvPr id="58" name="Freeform 5">
            <a:extLst>
              <a:ext uri="{FF2B5EF4-FFF2-40B4-BE49-F238E27FC236}">
                <a16:creationId xmlns:a16="http://schemas.microsoft.com/office/drawing/2014/main" id="{BAD13986-0D0A-46F6-95A0-80825A7E5013}"/>
              </a:ext>
            </a:extLst>
          </p:cNvPr>
          <p:cNvSpPr>
            <a:spLocks noChangeAspect="1"/>
          </p:cNvSpPr>
          <p:nvPr/>
        </p:nvSpPr>
        <p:spPr bwMode="auto">
          <a:xfrm>
            <a:off x="5008727" y="1585187"/>
            <a:ext cx="2226770" cy="1948587"/>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solidFill>
            <a:srgbClr val="383334"/>
          </a:solid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pPr marL="0" lvl="0" indent="0" algn="ctr" defTabSz="622300">
              <a:lnSpc>
                <a:spcPct val="90000"/>
              </a:lnSpc>
              <a:spcBef>
                <a:spcPct val="0"/>
              </a:spcBef>
              <a:spcAft>
                <a:spcPct val="35000"/>
              </a:spcAft>
              <a:buNone/>
            </a:pPr>
            <a:r>
              <a:rPr lang="en-US" sz="1800" b="1" kern="1200" dirty="0">
                <a:solidFill>
                  <a:schemeClr val="bg1"/>
                </a:solidFill>
                <a:latin typeface="Raleway" pitchFamily="2" charset="0"/>
              </a:rPr>
              <a:t>DOMAIN KNOWLEDGE</a:t>
            </a:r>
          </a:p>
        </p:txBody>
      </p:sp>
      <p:sp>
        <p:nvSpPr>
          <p:cNvPr id="59" name="Freeform 5">
            <a:extLst>
              <a:ext uri="{FF2B5EF4-FFF2-40B4-BE49-F238E27FC236}">
                <a16:creationId xmlns:a16="http://schemas.microsoft.com/office/drawing/2014/main" id="{E5548E9F-E33F-45F6-9C5B-BA50B099447C}"/>
              </a:ext>
            </a:extLst>
          </p:cNvPr>
          <p:cNvSpPr>
            <a:spLocks noChangeAspect="1"/>
          </p:cNvSpPr>
          <p:nvPr/>
        </p:nvSpPr>
        <p:spPr bwMode="auto">
          <a:xfrm>
            <a:off x="6764016" y="2836553"/>
            <a:ext cx="1696091" cy="1484204"/>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solidFill>
            <a:srgbClr val="5791D8"/>
          </a:solid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pPr marL="0" lvl="0" indent="0" algn="ctr" defTabSz="622300">
              <a:lnSpc>
                <a:spcPct val="100000"/>
              </a:lnSpc>
              <a:spcBef>
                <a:spcPct val="0"/>
              </a:spcBef>
              <a:spcAft>
                <a:spcPct val="35000"/>
              </a:spcAft>
              <a:buNone/>
            </a:pPr>
            <a:endParaRPr lang="en-US" sz="1200" b="1" kern="1200" dirty="0">
              <a:solidFill>
                <a:schemeClr val="bg1"/>
              </a:solidFill>
              <a:latin typeface="Raleway" pitchFamily="2" charset="0"/>
            </a:endParaRPr>
          </a:p>
        </p:txBody>
      </p:sp>
      <p:grpSp>
        <p:nvGrpSpPr>
          <p:cNvPr id="60" name="Group 59">
            <a:extLst>
              <a:ext uri="{FF2B5EF4-FFF2-40B4-BE49-F238E27FC236}">
                <a16:creationId xmlns:a16="http://schemas.microsoft.com/office/drawing/2014/main" id="{6BBD766D-EA89-4C08-81F2-462B7B443AD2}"/>
              </a:ext>
            </a:extLst>
          </p:cNvPr>
          <p:cNvGrpSpPr/>
          <p:nvPr/>
        </p:nvGrpSpPr>
        <p:grpSpPr>
          <a:xfrm>
            <a:off x="1791617" y="2432265"/>
            <a:ext cx="2259434" cy="2292781"/>
            <a:chOff x="1950209" y="2324099"/>
            <a:chExt cx="2259434" cy="2292781"/>
          </a:xfrm>
          <a:solidFill>
            <a:srgbClr val="5791D8">
              <a:alpha val="44000"/>
            </a:srgbClr>
          </a:solidFill>
        </p:grpSpPr>
        <p:sp>
          <p:nvSpPr>
            <p:cNvPr id="82" name="Freeform 5">
              <a:extLst>
                <a:ext uri="{FF2B5EF4-FFF2-40B4-BE49-F238E27FC236}">
                  <a16:creationId xmlns:a16="http://schemas.microsoft.com/office/drawing/2014/main" id="{5582A7CF-00BB-413B-9844-6625ED6D9BAD}"/>
                </a:ext>
              </a:extLst>
            </p:cNvPr>
            <p:cNvSpPr>
              <a:spLocks noChangeAspect="1"/>
            </p:cNvSpPr>
            <p:nvPr/>
          </p:nvSpPr>
          <p:spPr bwMode="auto">
            <a:xfrm>
              <a:off x="2947007" y="2324099"/>
              <a:ext cx="1262636" cy="1104899"/>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grp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83" name="Freeform 5">
              <a:extLst>
                <a:ext uri="{FF2B5EF4-FFF2-40B4-BE49-F238E27FC236}">
                  <a16:creationId xmlns:a16="http://schemas.microsoft.com/office/drawing/2014/main" id="{B90FE2BA-A011-4ED9-AD6D-A1A84C179ACA}"/>
                </a:ext>
              </a:extLst>
            </p:cNvPr>
            <p:cNvSpPr>
              <a:spLocks noChangeAspect="1"/>
            </p:cNvSpPr>
            <p:nvPr/>
          </p:nvSpPr>
          <p:spPr bwMode="auto">
            <a:xfrm>
              <a:off x="2947007" y="3511981"/>
              <a:ext cx="1262636" cy="1104899"/>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grp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84" name="Freeform 5">
              <a:extLst>
                <a:ext uri="{FF2B5EF4-FFF2-40B4-BE49-F238E27FC236}">
                  <a16:creationId xmlns:a16="http://schemas.microsoft.com/office/drawing/2014/main" id="{2F9840B2-D8D4-4C3C-BF22-3ADBC0C9DF69}"/>
                </a:ext>
              </a:extLst>
            </p:cNvPr>
            <p:cNvSpPr>
              <a:spLocks noChangeAspect="1"/>
            </p:cNvSpPr>
            <p:nvPr/>
          </p:nvSpPr>
          <p:spPr bwMode="auto">
            <a:xfrm>
              <a:off x="1950209" y="2918040"/>
              <a:ext cx="1262636" cy="1104899"/>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grp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grpSp>
      <p:grpSp>
        <p:nvGrpSpPr>
          <p:cNvPr id="61" name="Group 60">
            <a:extLst>
              <a:ext uri="{FF2B5EF4-FFF2-40B4-BE49-F238E27FC236}">
                <a16:creationId xmlns:a16="http://schemas.microsoft.com/office/drawing/2014/main" id="{83164FE3-50C9-4536-8A15-94BDD77D3385}"/>
              </a:ext>
            </a:extLst>
          </p:cNvPr>
          <p:cNvGrpSpPr/>
          <p:nvPr/>
        </p:nvGrpSpPr>
        <p:grpSpPr>
          <a:xfrm flipH="1">
            <a:off x="8193173" y="2432264"/>
            <a:ext cx="2259434" cy="2292781"/>
            <a:chOff x="1950209" y="2324099"/>
            <a:chExt cx="2259434" cy="2292781"/>
          </a:xfrm>
          <a:solidFill>
            <a:srgbClr val="5791D8">
              <a:alpha val="44000"/>
            </a:srgbClr>
          </a:solidFill>
        </p:grpSpPr>
        <p:sp>
          <p:nvSpPr>
            <p:cNvPr id="79" name="Freeform 5">
              <a:extLst>
                <a:ext uri="{FF2B5EF4-FFF2-40B4-BE49-F238E27FC236}">
                  <a16:creationId xmlns:a16="http://schemas.microsoft.com/office/drawing/2014/main" id="{0D65D697-0192-48B3-9562-1A4FB9BAB3BF}"/>
                </a:ext>
              </a:extLst>
            </p:cNvPr>
            <p:cNvSpPr>
              <a:spLocks noChangeAspect="1"/>
            </p:cNvSpPr>
            <p:nvPr/>
          </p:nvSpPr>
          <p:spPr bwMode="auto">
            <a:xfrm>
              <a:off x="2947007" y="2324099"/>
              <a:ext cx="1262636" cy="1104899"/>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grp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80" name="Freeform 5">
              <a:extLst>
                <a:ext uri="{FF2B5EF4-FFF2-40B4-BE49-F238E27FC236}">
                  <a16:creationId xmlns:a16="http://schemas.microsoft.com/office/drawing/2014/main" id="{1B8F8954-7BCE-4381-BB42-20319950C36D}"/>
                </a:ext>
              </a:extLst>
            </p:cNvPr>
            <p:cNvSpPr>
              <a:spLocks noChangeAspect="1"/>
            </p:cNvSpPr>
            <p:nvPr/>
          </p:nvSpPr>
          <p:spPr bwMode="auto">
            <a:xfrm>
              <a:off x="2947007" y="3511981"/>
              <a:ext cx="1262636" cy="1104899"/>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grp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81" name="Freeform 5">
              <a:extLst>
                <a:ext uri="{FF2B5EF4-FFF2-40B4-BE49-F238E27FC236}">
                  <a16:creationId xmlns:a16="http://schemas.microsoft.com/office/drawing/2014/main" id="{5D5B3CB3-61F6-4B6A-8073-97F58B021816}"/>
                </a:ext>
              </a:extLst>
            </p:cNvPr>
            <p:cNvSpPr>
              <a:spLocks noChangeAspect="1"/>
            </p:cNvSpPr>
            <p:nvPr/>
          </p:nvSpPr>
          <p:spPr bwMode="auto">
            <a:xfrm>
              <a:off x="1950209" y="2918040"/>
              <a:ext cx="1262636" cy="1104899"/>
            </a:xfrm>
            <a:custGeom>
              <a:avLst/>
              <a:gdLst>
                <a:gd name="T0" fmla="*/ 1489 w 2041"/>
                <a:gd name="T1" fmla="*/ 0 h 1783"/>
                <a:gd name="T2" fmla="*/ 552 w 2041"/>
                <a:gd name="T3" fmla="*/ 0 h 1783"/>
                <a:gd name="T4" fmla="*/ 483 w 2041"/>
                <a:gd name="T5" fmla="*/ 40 h 1783"/>
                <a:gd name="T6" fmla="*/ 14 w 2041"/>
                <a:gd name="T7" fmla="*/ 852 h 1783"/>
                <a:gd name="T8" fmla="*/ 14 w 2041"/>
                <a:gd name="T9" fmla="*/ 932 h 1783"/>
                <a:gd name="T10" fmla="*/ 483 w 2041"/>
                <a:gd name="T11" fmla="*/ 1743 h 1783"/>
                <a:gd name="T12" fmla="*/ 552 w 2041"/>
                <a:gd name="T13" fmla="*/ 1783 h 1783"/>
                <a:gd name="T14" fmla="*/ 1489 w 2041"/>
                <a:gd name="T15" fmla="*/ 1783 h 1783"/>
                <a:gd name="T16" fmla="*/ 1558 w 2041"/>
                <a:gd name="T17" fmla="*/ 1743 h 1783"/>
                <a:gd name="T18" fmla="*/ 2027 w 2041"/>
                <a:gd name="T19" fmla="*/ 932 h 1783"/>
                <a:gd name="T20" fmla="*/ 2027 w 2041"/>
                <a:gd name="T21" fmla="*/ 852 h 1783"/>
                <a:gd name="T22" fmla="*/ 1558 w 2041"/>
                <a:gd name="T23" fmla="*/ 40 h 1783"/>
                <a:gd name="T24" fmla="*/ 1489 w 2041"/>
                <a:gd name="T25" fmla="*/ 0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1" h="1783">
                  <a:moveTo>
                    <a:pt x="1489" y="0"/>
                  </a:moveTo>
                  <a:cubicBezTo>
                    <a:pt x="552" y="0"/>
                    <a:pt x="552" y="0"/>
                    <a:pt x="552" y="0"/>
                  </a:cubicBezTo>
                  <a:cubicBezTo>
                    <a:pt x="523" y="0"/>
                    <a:pt x="497" y="15"/>
                    <a:pt x="483" y="40"/>
                  </a:cubicBezTo>
                  <a:cubicBezTo>
                    <a:pt x="14" y="852"/>
                    <a:pt x="14" y="852"/>
                    <a:pt x="14" y="852"/>
                  </a:cubicBezTo>
                  <a:cubicBezTo>
                    <a:pt x="0" y="876"/>
                    <a:pt x="0" y="907"/>
                    <a:pt x="14" y="932"/>
                  </a:cubicBezTo>
                  <a:cubicBezTo>
                    <a:pt x="483" y="1743"/>
                    <a:pt x="483" y="1743"/>
                    <a:pt x="483" y="1743"/>
                  </a:cubicBezTo>
                  <a:cubicBezTo>
                    <a:pt x="497" y="1768"/>
                    <a:pt x="523" y="1783"/>
                    <a:pt x="552" y="1783"/>
                  </a:cubicBezTo>
                  <a:cubicBezTo>
                    <a:pt x="1489" y="1783"/>
                    <a:pt x="1489" y="1783"/>
                    <a:pt x="1489" y="1783"/>
                  </a:cubicBezTo>
                  <a:cubicBezTo>
                    <a:pt x="1518" y="1783"/>
                    <a:pt x="1544" y="1768"/>
                    <a:pt x="1558" y="1743"/>
                  </a:cubicBezTo>
                  <a:cubicBezTo>
                    <a:pt x="2027" y="932"/>
                    <a:pt x="2027" y="932"/>
                    <a:pt x="2027" y="932"/>
                  </a:cubicBezTo>
                  <a:cubicBezTo>
                    <a:pt x="2041" y="907"/>
                    <a:pt x="2041" y="876"/>
                    <a:pt x="2027" y="852"/>
                  </a:cubicBezTo>
                  <a:cubicBezTo>
                    <a:pt x="1558" y="40"/>
                    <a:pt x="1558" y="40"/>
                    <a:pt x="1558" y="40"/>
                  </a:cubicBezTo>
                  <a:cubicBezTo>
                    <a:pt x="1544" y="15"/>
                    <a:pt x="1518" y="0"/>
                    <a:pt x="1489" y="0"/>
                  </a:cubicBezTo>
                  <a:close/>
                </a:path>
              </a:pathLst>
            </a:custGeom>
            <a:grpFill/>
            <a:ln>
              <a:noFill/>
            </a:ln>
            <a:effectLst>
              <a:outerShdw blurRad="63500" sx="101000" sy="101000" algn="ctr" rotWithShape="0">
                <a:prstClr val="black">
                  <a:alpha val="35000"/>
                </a:prstClr>
              </a:outerShdw>
            </a:effectLst>
          </p:spPr>
          <p:txBody>
            <a:bodyPr vert="horz" wrap="square" lIns="91440" tIns="45720" rIns="91440" bIns="45720" numCol="1" anchor="t" anchorCtr="0" compatLnSpc="1">
              <a:prstTxWarp prst="textNoShape">
                <a:avLst/>
              </a:prstTxWarp>
            </a:bodyPr>
            <a:lstStyle/>
            <a:p>
              <a:endParaRPr lang="en-US"/>
            </a:p>
          </p:txBody>
        </p:sp>
      </p:grpSp>
      <p:pic>
        <p:nvPicPr>
          <p:cNvPr id="62" name="Graphic 2">
            <a:extLst>
              <a:ext uri="{FF2B5EF4-FFF2-40B4-BE49-F238E27FC236}">
                <a16:creationId xmlns:a16="http://schemas.microsoft.com/office/drawing/2014/main" id="{BD7240A3-70C9-41C8-9559-B2D8937A6D8A}"/>
              </a:ext>
            </a:extLst>
          </p:cNvPr>
          <p:cNvPicPr>
            <a:picLocks noChangeAspect="1"/>
          </p:cNvPicPr>
          <p:nvPr/>
        </p:nvPicPr>
        <p:blipFill>
          <a:blip r:embed="rId2" cstate="print"/>
          <a:stretch>
            <a:fillRect/>
          </a:stretch>
        </p:blipFill>
        <p:spPr>
          <a:xfrm>
            <a:off x="5565239" y="2342475"/>
            <a:ext cx="1107050" cy="1107050"/>
          </a:xfrm>
          <a:prstGeom prst="rect">
            <a:avLst/>
          </a:prstGeom>
        </p:spPr>
      </p:pic>
      <p:pic>
        <p:nvPicPr>
          <p:cNvPr id="63" name="Graphic 8">
            <a:extLst>
              <a:ext uri="{FF2B5EF4-FFF2-40B4-BE49-F238E27FC236}">
                <a16:creationId xmlns:a16="http://schemas.microsoft.com/office/drawing/2014/main" id="{64679965-2411-45A3-8254-0FC322128C07}"/>
              </a:ext>
            </a:extLst>
          </p:cNvPr>
          <p:cNvPicPr>
            <a:picLocks noChangeAspect="1"/>
          </p:cNvPicPr>
          <p:nvPr/>
        </p:nvPicPr>
        <p:blipFill>
          <a:blip r:embed="rId3" cstate="print"/>
          <a:stretch>
            <a:fillRect/>
          </a:stretch>
        </p:blipFill>
        <p:spPr>
          <a:xfrm>
            <a:off x="5491967" y="3632730"/>
            <a:ext cx="1253595" cy="1253595"/>
          </a:xfrm>
          <a:prstGeom prst="rect">
            <a:avLst/>
          </a:prstGeom>
        </p:spPr>
      </p:pic>
      <p:pic>
        <p:nvPicPr>
          <p:cNvPr id="64" name="Graphic 4">
            <a:extLst>
              <a:ext uri="{FF2B5EF4-FFF2-40B4-BE49-F238E27FC236}">
                <a16:creationId xmlns:a16="http://schemas.microsoft.com/office/drawing/2014/main" id="{1A6B90F3-5E44-4B5A-917E-987F8DFCE80A}"/>
              </a:ext>
            </a:extLst>
          </p:cNvPr>
          <p:cNvPicPr>
            <a:picLocks noChangeAspect="1"/>
          </p:cNvPicPr>
          <p:nvPr/>
        </p:nvPicPr>
        <p:blipFill>
          <a:blip r:embed="rId4" cstate="print"/>
          <a:stretch>
            <a:fillRect/>
          </a:stretch>
        </p:blipFill>
        <p:spPr>
          <a:xfrm>
            <a:off x="4152071" y="2898863"/>
            <a:ext cx="900702" cy="900702"/>
          </a:xfrm>
          <a:prstGeom prst="rect">
            <a:avLst/>
          </a:prstGeom>
        </p:spPr>
      </p:pic>
      <p:pic>
        <p:nvPicPr>
          <p:cNvPr id="65" name="Graphic 6">
            <a:extLst>
              <a:ext uri="{FF2B5EF4-FFF2-40B4-BE49-F238E27FC236}">
                <a16:creationId xmlns:a16="http://schemas.microsoft.com/office/drawing/2014/main" id="{A5748904-15AA-47F9-962C-A730D779DDC6}"/>
              </a:ext>
            </a:extLst>
          </p:cNvPr>
          <p:cNvPicPr>
            <a:picLocks noChangeAspect="1"/>
          </p:cNvPicPr>
          <p:nvPr/>
        </p:nvPicPr>
        <p:blipFill>
          <a:blip r:embed="rId5" cstate="print"/>
          <a:stretch>
            <a:fillRect/>
          </a:stretch>
        </p:blipFill>
        <p:spPr>
          <a:xfrm>
            <a:off x="7121747" y="3384973"/>
            <a:ext cx="958718" cy="958720"/>
          </a:xfrm>
          <a:prstGeom prst="rect">
            <a:avLst/>
          </a:prstGeom>
        </p:spPr>
      </p:pic>
      <p:pic>
        <p:nvPicPr>
          <p:cNvPr id="66" name="Graphic 66">
            <a:extLst>
              <a:ext uri="{FF2B5EF4-FFF2-40B4-BE49-F238E27FC236}">
                <a16:creationId xmlns:a16="http://schemas.microsoft.com/office/drawing/2014/main" id="{056FA202-60EB-45D6-9B7F-BBE74529F391}"/>
              </a:ext>
            </a:extLst>
          </p:cNvPr>
          <p:cNvPicPr>
            <a:picLocks noChangeAspect="1"/>
          </p:cNvPicPr>
          <p:nvPr/>
        </p:nvPicPr>
        <p:blipFill>
          <a:blip r:embed="rId6" cstate="print"/>
          <a:stretch>
            <a:fillRect/>
          </a:stretch>
        </p:blipFill>
        <p:spPr>
          <a:xfrm>
            <a:off x="8572815" y="3072992"/>
            <a:ext cx="434469" cy="434469"/>
          </a:xfrm>
          <a:prstGeom prst="rect">
            <a:avLst/>
          </a:prstGeom>
        </p:spPr>
      </p:pic>
      <p:pic>
        <p:nvPicPr>
          <p:cNvPr id="67" name="Graphic 68">
            <a:extLst>
              <a:ext uri="{FF2B5EF4-FFF2-40B4-BE49-F238E27FC236}">
                <a16:creationId xmlns:a16="http://schemas.microsoft.com/office/drawing/2014/main" id="{59AD6370-5387-420D-B1A3-26E520670D86}"/>
              </a:ext>
            </a:extLst>
          </p:cNvPr>
          <p:cNvPicPr>
            <a:picLocks noChangeAspect="1"/>
          </p:cNvPicPr>
          <p:nvPr/>
        </p:nvPicPr>
        <p:blipFill>
          <a:blip r:embed="rId7" cstate="print"/>
          <a:stretch>
            <a:fillRect/>
          </a:stretch>
        </p:blipFill>
        <p:spPr>
          <a:xfrm>
            <a:off x="9258592" y="3390558"/>
            <a:ext cx="394434" cy="394434"/>
          </a:xfrm>
          <a:prstGeom prst="rect">
            <a:avLst/>
          </a:prstGeom>
        </p:spPr>
      </p:pic>
      <p:pic>
        <p:nvPicPr>
          <p:cNvPr id="68" name="Graphic 70">
            <a:extLst>
              <a:ext uri="{FF2B5EF4-FFF2-40B4-BE49-F238E27FC236}">
                <a16:creationId xmlns:a16="http://schemas.microsoft.com/office/drawing/2014/main" id="{CE96D75A-8D34-4AEE-9811-B0FDCFCD2890}"/>
              </a:ext>
            </a:extLst>
          </p:cNvPr>
          <p:cNvPicPr>
            <a:picLocks noChangeAspect="1"/>
          </p:cNvPicPr>
          <p:nvPr/>
        </p:nvPicPr>
        <p:blipFill>
          <a:blip r:embed="rId8" cstate="print"/>
          <a:stretch>
            <a:fillRect/>
          </a:stretch>
        </p:blipFill>
        <p:spPr>
          <a:xfrm>
            <a:off x="8459011" y="3600632"/>
            <a:ext cx="662077" cy="662077"/>
          </a:xfrm>
          <a:prstGeom prst="rect">
            <a:avLst/>
          </a:prstGeom>
        </p:spPr>
      </p:pic>
      <p:pic>
        <p:nvPicPr>
          <p:cNvPr id="69" name="Graphic 23">
            <a:extLst>
              <a:ext uri="{FF2B5EF4-FFF2-40B4-BE49-F238E27FC236}">
                <a16:creationId xmlns:a16="http://schemas.microsoft.com/office/drawing/2014/main" id="{BD02FB0E-CD69-4DE3-87DE-30652AADA489}"/>
              </a:ext>
            </a:extLst>
          </p:cNvPr>
          <p:cNvPicPr>
            <a:picLocks noChangeAspect="1"/>
          </p:cNvPicPr>
          <p:nvPr/>
        </p:nvPicPr>
        <p:blipFill>
          <a:blip r:embed="rId9" cstate="print"/>
          <a:stretch>
            <a:fillRect/>
          </a:stretch>
        </p:blipFill>
        <p:spPr>
          <a:xfrm>
            <a:off x="3191587" y="3040437"/>
            <a:ext cx="485012" cy="485012"/>
          </a:xfrm>
          <a:prstGeom prst="rect">
            <a:avLst/>
          </a:prstGeom>
        </p:spPr>
      </p:pic>
      <p:pic>
        <p:nvPicPr>
          <p:cNvPr id="70" name="Graphic 21">
            <a:extLst>
              <a:ext uri="{FF2B5EF4-FFF2-40B4-BE49-F238E27FC236}">
                <a16:creationId xmlns:a16="http://schemas.microsoft.com/office/drawing/2014/main" id="{32AFF27B-6485-41D8-9B89-78BE0B4EF731}"/>
              </a:ext>
            </a:extLst>
          </p:cNvPr>
          <p:cNvPicPr>
            <a:picLocks noChangeAspect="1"/>
          </p:cNvPicPr>
          <p:nvPr/>
        </p:nvPicPr>
        <p:blipFill>
          <a:blip r:embed="rId10" cstate="print"/>
          <a:stretch>
            <a:fillRect/>
          </a:stretch>
        </p:blipFill>
        <p:spPr>
          <a:xfrm>
            <a:off x="2530417" y="3403007"/>
            <a:ext cx="471137" cy="471137"/>
          </a:xfrm>
          <a:prstGeom prst="rect">
            <a:avLst/>
          </a:prstGeom>
        </p:spPr>
      </p:pic>
      <p:pic>
        <p:nvPicPr>
          <p:cNvPr id="71" name="Graphic 64">
            <a:extLst>
              <a:ext uri="{FF2B5EF4-FFF2-40B4-BE49-F238E27FC236}">
                <a16:creationId xmlns:a16="http://schemas.microsoft.com/office/drawing/2014/main" id="{8CE9D1E0-B4BD-4CC7-B40F-73AC1C908E6D}"/>
              </a:ext>
            </a:extLst>
          </p:cNvPr>
          <p:cNvPicPr>
            <a:picLocks noChangeAspect="1"/>
          </p:cNvPicPr>
          <p:nvPr/>
        </p:nvPicPr>
        <p:blipFill>
          <a:blip r:embed="rId11" cstate="print"/>
          <a:stretch>
            <a:fillRect/>
          </a:stretch>
        </p:blipFill>
        <p:spPr>
          <a:xfrm>
            <a:off x="3177282" y="3658973"/>
            <a:ext cx="513623" cy="513623"/>
          </a:xfrm>
          <a:prstGeom prst="rect">
            <a:avLst/>
          </a:prstGeom>
        </p:spPr>
      </p:pic>
      <p:sp>
        <p:nvSpPr>
          <p:cNvPr id="72" name="TextBox 34">
            <a:extLst>
              <a:ext uri="{FF2B5EF4-FFF2-40B4-BE49-F238E27FC236}">
                <a16:creationId xmlns:a16="http://schemas.microsoft.com/office/drawing/2014/main" id="{0A85CD85-794F-4A13-9684-2FB2722BE2CD}"/>
              </a:ext>
            </a:extLst>
          </p:cNvPr>
          <p:cNvSpPr txBox="1"/>
          <p:nvPr/>
        </p:nvSpPr>
        <p:spPr>
          <a:xfrm>
            <a:off x="2977402" y="2393626"/>
            <a:ext cx="913383" cy="4565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Unique Synergy</a:t>
            </a:r>
          </a:p>
        </p:txBody>
      </p:sp>
      <p:sp>
        <p:nvSpPr>
          <p:cNvPr id="73" name="TextBox 41">
            <a:extLst>
              <a:ext uri="{FF2B5EF4-FFF2-40B4-BE49-F238E27FC236}">
                <a16:creationId xmlns:a16="http://schemas.microsoft.com/office/drawing/2014/main" id="{EA23C032-091E-4FE0-B704-099806C561FE}"/>
              </a:ext>
            </a:extLst>
          </p:cNvPr>
          <p:cNvSpPr txBox="1"/>
          <p:nvPr/>
        </p:nvSpPr>
        <p:spPr>
          <a:xfrm>
            <a:off x="1722638" y="3364198"/>
            <a:ext cx="913383" cy="4565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Flexible &amp; Extensible</a:t>
            </a:r>
          </a:p>
        </p:txBody>
      </p:sp>
      <p:sp>
        <p:nvSpPr>
          <p:cNvPr id="74" name="TextBox 44">
            <a:extLst>
              <a:ext uri="{FF2B5EF4-FFF2-40B4-BE49-F238E27FC236}">
                <a16:creationId xmlns:a16="http://schemas.microsoft.com/office/drawing/2014/main" id="{F791C1DB-CA48-4EAC-9C23-0BA74952828B}"/>
              </a:ext>
            </a:extLst>
          </p:cNvPr>
          <p:cNvSpPr txBox="1"/>
          <p:nvPr/>
        </p:nvSpPr>
        <p:spPr>
          <a:xfrm>
            <a:off x="2977402" y="4192203"/>
            <a:ext cx="913383" cy="4565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Proprietary Risk Frameworks</a:t>
            </a:r>
          </a:p>
        </p:txBody>
      </p:sp>
      <p:sp>
        <p:nvSpPr>
          <p:cNvPr id="75" name="TextBox 50">
            <a:extLst>
              <a:ext uri="{FF2B5EF4-FFF2-40B4-BE49-F238E27FC236}">
                <a16:creationId xmlns:a16="http://schemas.microsoft.com/office/drawing/2014/main" id="{91BD1982-EC75-4A74-8857-A4BE44E256BD}"/>
              </a:ext>
            </a:extLst>
          </p:cNvPr>
          <p:cNvSpPr txBox="1"/>
          <p:nvPr/>
        </p:nvSpPr>
        <p:spPr>
          <a:xfrm>
            <a:off x="8397671" y="4255721"/>
            <a:ext cx="913383" cy="4565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Empowered Knowledge transfer</a:t>
            </a:r>
          </a:p>
        </p:txBody>
      </p:sp>
      <p:sp>
        <p:nvSpPr>
          <p:cNvPr id="76" name="TextBox 57">
            <a:extLst>
              <a:ext uri="{FF2B5EF4-FFF2-40B4-BE49-F238E27FC236}">
                <a16:creationId xmlns:a16="http://schemas.microsoft.com/office/drawing/2014/main" id="{EB9EFA68-4341-43F2-99DA-FCC389D1E4A7}"/>
              </a:ext>
            </a:extLst>
          </p:cNvPr>
          <p:cNvSpPr txBox="1"/>
          <p:nvPr/>
        </p:nvSpPr>
        <p:spPr>
          <a:xfrm>
            <a:off x="8368348" y="2547773"/>
            <a:ext cx="913383" cy="4565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Relationship Based Advisory &amp; Support</a:t>
            </a:r>
          </a:p>
        </p:txBody>
      </p:sp>
      <p:sp>
        <p:nvSpPr>
          <p:cNvPr id="77" name="TextBox 52">
            <a:extLst>
              <a:ext uri="{FF2B5EF4-FFF2-40B4-BE49-F238E27FC236}">
                <a16:creationId xmlns:a16="http://schemas.microsoft.com/office/drawing/2014/main" id="{D0190A4A-BA2A-47CB-8B67-F1F8CF7ACA69}"/>
              </a:ext>
            </a:extLst>
          </p:cNvPr>
          <p:cNvSpPr txBox="1"/>
          <p:nvPr/>
        </p:nvSpPr>
        <p:spPr>
          <a:xfrm>
            <a:off x="9555979" y="3342983"/>
            <a:ext cx="913383" cy="45658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latin typeface="Raleway" pitchFamily="2" charset="0"/>
              </a:rPr>
              <a:t>Efficient Project Processes</a:t>
            </a:r>
          </a:p>
        </p:txBody>
      </p:sp>
      <p:sp>
        <p:nvSpPr>
          <p:cNvPr id="78" name="TextBox 77">
            <a:extLst>
              <a:ext uri="{FF2B5EF4-FFF2-40B4-BE49-F238E27FC236}">
                <a16:creationId xmlns:a16="http://schemas.microsoft.com/office/drawing/2014/main" id="{EB27EED9-804F-4C40-8E5F-8B9A283C8B4E}"/>
              </a:ext>
            </a:extLst>
          </p:cNvPr>
          <p:cNvSpPr txBox="1"/>
          <p:nvPr/>
        </p:nvSpPr>
        <p:spPr>
          <a:xfrm>
            <a:off x="6813787" y="2954225"/>
            <a:ext cx="1618924" cy="430887"/>
          </a:xfrm>
          <a:prstGeom prst="rect">
            <a:avLst/>
          </a:prstGeom>
          <a:noFill/>
        </p:spPr>
        <p:txBody>
          <a:bodyPr wrap="square">
            <a:spAutoFit/>
          </a:bodyPr>
          <a:lstStyle/>
          <a:p>
            <a:pPr marL="0" lvl="0" indent="0" algn="ctr" defTabSz="622300">
              <a:lnSpc>
                <a:spcPct val="100000"/>
              </a:lnSpc>
              <a:spcBef>
                <a:spcPct val="0"/>
              </a:spcBef>
              <a:spcAft>
                <a:spcPct val="35000"/>
              </a:spcAft>
              <a:buNone/>
            </a:pPr>
            <a:r>
              <a:rPr lang="en-US" sz="1100" b="1" kern="1200" dirty="0">
                <a:solidFill>
                  <a:schemeClr val="bg1"/>
                </a:solidFill>
                <a:latin typeface="Raleway" pitchFamily="2" charset="0"/>
              </a:rPr>
              <a:t>EFFICIENT IMPLEMENTAT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lum/>
          </a:blip>
          <a:srcRect/>
          <a:stretch>
            <a:fillRect l="-1000" r="-1000"/>
          </a:stretch>
        </a:blipFill>
        <a:effectLst/>
      </p:bgPr>
    </p:bg>
    <p:spTree>
      <p:nvGrpSpPr>
        <p:cNvPr id="1" name=""/>
        <p:cNvGrpSpPr/>
        <p:nvPr/>
      </p:nvGrpSpPr>
      <p:grpSpPr>
        <a:xfrm>
          <a:off x="0" y="0"/>
          <a:ext cx="0" cy="0"/>
          <a:chOff x="0" y="0"/>
          <a:chExt cx="0" cy="0"/>
        </a:xfrm>
      </p:grpSpPr>
      <p:sp>
        <p:nvSpPr>
          <p:cNvPr id="1048659" name="Title 3"/>
          <p:cNvSpPr>
            <a:spLocks noGrp="1"/>
          </p:cNvSpPr>
          <p:nvPr>
            <p:ph type="title" idx="4294967295"/>
          </p:nvPr>
        </p:nvSpPr>
        <p:spPr>
          <a:xfrm>
            <a:off x="928092" y="92775"/>
            <a:ext cx="10515600" cy="584200"/>
          </a:xfrm>
        </p:spPr>
        <p:txBody>
          <a:bodyPr>
            <a:noAutofit/>
          </a:bodyPr>
          <a:lstStyle/>
          <a:p>
            <a:pPr algn="ctr"/>
            <a:r>
              <a:rPr lang="en-US" sz="2800" b="1" dirty="0"/>
              <a:t>OUR KEY CLIENTS -</a:t>
            </a:r>
            <a:r>
              <a:rPr lang="en-US" sz="2800" b="1" dirty="0">
                <a:solidFill>
                  <a:srgbClr val="5791D8"/>
                </a:solidFill>
              </a:rPr>
              <a:t> RISK MANAGEMENT PROJECTS</a:t>
            </a:r>
          </a:p>
        </p:txBody>
      </p:sp>
      <p:sp>
        <p:nvSpPr>
          <p:cNvPr id="1048660" name="Rectangle 14"/>
          <p:cNvSpPr/>
          <p:nvPr/>
        </p:nvSpPr>
        <p:spPr>
          <a:xfrm>
            <a:off x="676489" y="1064157"/>
            <a:ext cx="10839021" cy="1670329"/>
          </a:xfrm>
          <a:prstGeom prst="rect">
            <a:avLst/>
          </a:prstGeom>
        </p:spPr>
        <p:txBody>
          <a:bodyPr wrap="square">
            <a:spAutoFit/>
          </a:bodyPr>
          <a:lstStyle/>
          <a:p>
            <a:pPr algn="ctr">
              <a:lnSpc>
                <a:spcPct val="150000"/>
              </a:lnSpc>
            </a:pPr>
            <a:r>
              <a:rPr lang="en-US" sz="1400" dirty="0">
                <a:latin typeface="Raleway"/>
              </a:rPr>
              <a:t>We possess vast experience in delivering Enterprise Risk Management through our Integrated risk platform, </a:t>
            </a:r>
            <a:r>
              <a:rPr lang="en-US" sz="1400" dirty="0" err="1">
                <a:latin typeface="Raleway"/>
              </a:rPr>
              <a:t>RiskCube</a:t>
            </a:r>
            <a:r>
              <a:rPr lang="en-US" sz="1400" dirty="0">
                <a:latin typeface="Raleway"/>
              </a:rPr>
              <a:t>. We have enabled banks to successfully implement Risk transformation programs including management of data architecture.  Our key clients are listed below. We differentiate ourselves by delivering end to end solution including model development, validation, refinements, data management, IFRS 9 ECL system, configurable rules, Early warning dashboards (EWS), comprehensive reporting with complete automation</a:t>
            </a:r>
          </a:p>
        </p:txBody>
      </p:sp>
      <p:grpSp>
        <p:nvGrpSpPr>
          <p:cNvPr id="122" name="Group 28"/>
          <p:cNvGrpSpPr/>
          <p:nvPr/>
        </p:nvGrpSpPr>
        <p:grpSpPr>
          <a:xfrm>
            <a:off x="5719026" y="704511"/>
            <a:ext cx="753947" cy="224245"/>
            <a:chOff x="5719027" y="4173124"/>
            <a:chExt cx="753947" cy="261258"/>
          </a:xfrm>
        </p:grpSpPr>
        <p:sp>
          <p:nvSpPr>
            <p:cNvPr id="1048661" name="Isosceles Triangle 32"/>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62" name="Isosceles Triangle 34"/>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63" name="Isosceles Triangle 36"/>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89631CB0-42BC-453C-8546-DBB350CD729C}"/>
              </a:ext>
            </a:extLst>
          </p:cNvPr>
          <p:cNvGrpSpPr/>
          <p:nvPr/>
        </p:nvGrpSpPr>
        <p:grpSpPr>
          <a:xfrm>
            <a:off x="4095580" y="2924989"/>
            <a:ext cx="1984248" cy="2868854"/>
            <a:chOff x="4261391" y="2840314"/>
            <a:chExt cx="1984248" cy="2868854"/>
          </a:xfrm>
        </p:grpSpPr>
        <p:sp>
          <p:nvSpPr>
            <p:cNvPr id="1048668" name="TextBox 6"/>
            <p:cNvSpPr txBox="1"/>
            <p:nvPr/>
          </p:nvSpPr>
          <p:spPr>
            <a:xfrm>
              <a:off x="4261391" y="3693232"/>
              <a:ext cx="1984248" cy="2015936"/>
            </a:xfrm>
            <a:prstGeom prst="rect">
              <a:avLst/>
            </a:prstGeom>
            <a:noFill/>
          </p:spPr>
          <p:txBody>
            <a:bodyPr wrap="square">
              <a:spAutoFit/>
            </a:bodyPr>
            <a:lstStyle/>
            <a:p>
              <a:pPr algn="ctr">
                <a:spcBef>
                  <a:spcPts val="200"/>
                </a:spcBef>
              </a:pPr>
              <a:r>
                <a:rPr lang="sv-SE" sz="1000" b="1" dirty="0">
                  <a:solidFill>
                    <a:schemeClr val="bg2">
                      <a:lumMod val="25000"/>
                    </a:schemeClr>
                  </a:solidFill>
                  <a:latin typeface="Raleway" pitchFamily="2" charset="0"/>
                </a:rPr>
                <a:t>Qatar</a:t>
              </a:r>
              <a:endParaRPr lang="en-US" sz="1000" dirty="0">
                <a:solidFill>
                  <a:schemeClr val="bg2">
                    <a:lumMod val="25000"/>
                  </a:schemeClr>
                </a:solidFill>
                <a:effectLst/>
                <a:latin typeface="Raleway" pitchFamily="2" charset="0"/>
                <a:ea typeface="Calibri" panose="020F0502020204030204" pitchFamily="34" charset="0"/>
                <a:cs typeface="Times New Roman" panose="02020603050405020304" pitchFamily="18" charset="0"/>
              </a:endParaRPr>
            </a:p>
            <a:p>
              <a:pPr marL="285750" indent="-285750">
                <a:spcBef>
                  <a:spcPts val="200"/>
                </a:spcBef>
                <a:buFont typeface="Wingdings" panose="05000000000000000000" pitchFamily="2" charset="2"/>
                <a:buChar char="§"/>
              </a:pPr>
              <a:r>
                <a:rPr lang="en-US" sz="1000" dirty="0">
                  <a:solidFill>
                    <a:schemeClr val="bg2">
                      <a:lumMod val="25000"/>
                    </a:schemeClr>
                  </a:solidFill>
                  <a:latin typeface="Raleway" pitchFamily="2" charset="0"/>
                  <a:ea typeface="Calibri" panose="020F0502020204030204" pitchFamily="34" charset="0"/>
                  <a:cs typeface="Times New Roman" panose="02020603050405020304" pitchFamily="18" charset="0"/>
                </a:rPr>
                <a:t>Comprehensive IFRS 9 Model Development &amp; Validation</a:t>
              </a:r>
            </a:p>
            <a:p>
              <a:pPr marL="285750" indent="-285750">
                <a:spcBef>
                  <a:spcPts val="200"/>
                </a:spcBef>
                <a:buFont typeface="Wingdings" panose="05000000000000000000" pitchFamily="2" charset="2"/>
                <a:buChar char="§"/>
              </a:pPr>
              <a:r>
                <a:rPr lang="en-US" sz="1000" dirty="0">
                  <a:solidFill>
                    <a:schemeClr val="bg2">
                      <a:lumMod val="25000"/>
                    </a:schemeClr>
                  </a:solidFill>
                  <a:latin typeface="Raleway" pitchFamily="2" charset="0"/>
                  <a:ea typeface="Calibri" panose="020F0502020204030204" pitchFamily="34" charset="0"/>
                  <a:cs typeface="Times New Roman" panose="02020603050405020304" pitchFamily="18" charset="0"/>
                </a:rPr>
                <a:t>IFRS 9 System Implementation – Core Data Integration &amp; Consolidation, Staging &amp; Business Rules, One Touch Imply &amp; Reporting</a:t>
              </a:r>
            </a:p>
            <a:p>
              <a:pPr marL="285750" indent="-285750">
                <a:spcBef>
                  <a:spcPts val="200"/>
                </a:spcBef>
                <a:buFont typeface="Wingdings" panose="05000000000000000000" pitchFamily="2" charset="2"/>
                <a:buChar char="§"/>
              </a:pPr>
              <a:r>
                <a:rPr lang="en-US" sz="1000" dirty="0">
                  <a:solidFill>
                    <a:schemeClr val="bg2">
                      <a:lumMod val="25000"/>
                    </a:schemeClr>
                  </a:solidFill>
                  <a:latin typeface="Raleway" pitchFamily="2" charset="0"/>
                  <a:ea typeface="Calibri" panose="020F0502020204030204" pitchFamily="34" charset="0"/>
                  <a:cs typeface="Times New Roman" panose="02020603050405020304" pitchFamily="18" charset="0"/>
                </a:rPr>
                <a:t>Comparative &amp; What if Analysis. </a:t>
              </a:r>
              <a:endParaRPr lang="en-GB" sz="1000" b="1" dirty="0">
                <a:solidFill>
                  <a:schemeClr val="bg2">
                    <a:lumMod val="25000"/>
                  </a:schemeClr>
                </a:solidFill>
                <a:effectLst/>
                <a:latin typeface="Raleway" pitchFamily="2" charset="0"/>
                <a:ea typeface="Calibri" panose="020F0502020204030204" pitchFamily="34" charset="0"/>
                <a:cs typeface="Times New Roman" panose="02020603050405020304" pitchFamily="18" charset="0"/>
              </a:endParaRPr>
            </a:p>
          </p:txBody>
        </p:sp>
        <p:sp>
          <p:nvSpPr>
            <p:cNvPr id="1048669" name="Rectangle: Rounded Corners 41"/>
            <p:cNvSpPr/>
            <p:nvPr/>
          </p:nvSpPr>
          <p:spPr>
            <a:xfrm>
              <a:off x="4491884" y="3283202"/>
              <a:ext cx="1523262" cy="360827"/>
            </a:xfrm>
            <a:prstGeom prst="roundRect">
              <a:avLst/>
            </a:prstGeom>
            <a:solidFill>
              <a:srgbClr val="CF1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b="1" dirty="0">
                  <a:latin typeface="Raleway" pitchFamily="2" charset="0"/>
                </a:rPr>
                <a:t>Qatar International Islamic Bank</a:t>
              </a:r>
              <a:endParaRPr lang="en-US" sz="1000" b="1" dirty="0">
                <a:latin typeface="Raleway" pitchFamily="2" charset="0"/>
              </a:endParaRPr>
            </a:p>
          </p:txBody>
        </p:sp>
        <p:pic>
          <p:nvPicPr>
            <p:cNvPr id="2097181" name="Picture 20"/>
            <p:cNvPicPr>
              <a:picLocks noChangeAspect="1"/>
            </p:cNvPicPr>
            <p:nvPr/>
          </p:nvPicPr>
          <p:blipFill>
            <a:blip r:embed="rId3" cstate="print"/>
            <a:stretch>
              <a:fillRect/>
            </a:stretch>
          </p:blipFill>
          <p:spPr>
            <a:xfrm>
              <a:off x="4587217" y="2840314"/>
              <a:ext cx="1332596" cy="299120"/>
            </a:xfrm>
            <a:prstGeom prst="rect">
              <a:avLst/>
            </a:prstGeom>
          </p:spPr>
        </p:pic>
      </p:grpSp>
      <p:grpSp>
        <p:nvGrpSpPr>
          <p:cNvPr id="8" name="Group 7">
            <a:extLst>
              <a:ext uri="{FF2B5EF4-FFF2-40B4-BE49-F238E27FC236}">
                <a16:creationId xmlns:a16="http://schemas.microsoft.com/office/drawing/2014/main" id="{FE013BC9-2837-41BD-B745-57128EEE1205}"/>
              </a:ext>
            </a:extLst>
          </p:cNvPr>
          <p:cNvGrpSpPr/>
          <p:nvPr/>
        </p:nvGrpSpPr>
        <p:grpSpPr>
          <a:xfrm>
            <a:off x="6080433" y="2799702"/>
            <a:ext cx="1984248" cy="3074253"/>
            <a:chOff x="6202458" y="2660564"/>
            <a:chExt cx="1984248" cy="3074253"/>
          </a:xfrm>
        </p:grpSpPr>
        <p:sp>
          <p:nvSpPr>
            <p:cNvPr id="1048670" name="TextBox 42"/>
            <p:cNvSpPr txBox="1"/>
            <p:nvPr/>
          </p:nvSpPr>
          <p:spPr>
            <a:xfrm>
              <a:off x="6202458" y="3693232"/>
              <a:ext cx="1984248" cy="2041585"/>
            </a:xfrm>
            <a:prstGeom prst="rect">
              <a:avLst/>
            </a:prstGeom>
            <a:noFill/>
          </p:spPr>
          <p:txBody>
            <a:bodyPr wrap="square">
              <a:spAutoFit/>
            </a:bodyPr>
            <a:lstStyle/>
            <a:p>
              <a:pPr algn="ctr">
                <a:spcBef>
                  <a:spcPts val="200"/>
                </a:spcBef>
              </a:pPr>
              <a:r>
                <a:rPr lang="sv-SE" sz="1000" b="1" dirty="0">
                  <a:solidFill>
                    <a:srgbClr val="003672"/>
                  </a:solidFill>
                  <a:latin typeface="Raleway" pitchFamily="2" charset="0"/>
                </a:rPr>
                <a:t>Jordan</a:t>
              </a:r>
            </a:p>
            <a:p>
              <a:pPr marL="171450" indent="-171450">
                <a:spcBef>
                  <a:spcPts val="200"/>
                </a:spcBef>
                <a:buFont typeface="Wingdings" panose="05000000000000000000" pitchFamily="2" charset="2"/>
                <a:buChar char="§"/>
              </a:pPr>
              <a:r>
                <a:rPr lang="en-US" sz="1000" dirty="0">
                  <a:solidFill>
                    <a:srgbClr val="003672"/>
                  </a:solidFill>
                  <a:latin typeface="Raleway" pitchFamily="2" charset="0"/>
                  <a:ea typeface="Calibri" panose="020F0502020204030204" pitchFamily="34" charset="0"/>
                  <a:cs typeface="Times New Roman" panose="02020603050405020304" pitchFamily="18" charset="0"/>
                </a:rPr>
                <a:t>IFRS 9 Implementation &amp; CBJ Reporting</a:t>
              </a:r>
            </a:p>
            <a:p>
              <a:pPr marL="171450" indent="-171450">
                <a:spcBef>
                  <a:spcPts val="200"/>
                </a:spcBef>
                <a:buFont typeface="Wingdings" panose="05000000000000000000" pitchFamily="2" charset="2"/>
                <a:buChar char="§"/>
              </a:pPr>
              <a:r>
                <a:rPr lang="en-US" sz="1000" dirty="0">
                  <a:solidFill>
                    <a:srgbClr val="003672"/>
                  </a:solidFill>
                  <a:latin typeface="Raleway" pitchFamily="2" charset="0"/>
                  <a:ea typeface="Calibri" panose="020F0502020204030204" pitchFamily="34" charset="0"/>
                  <a:cs typeface="Times New Roman" panose="02020603050405020304" pitchFamily="18" charset="0"/>
                </a:rPr>
                <a:t>Integration with Moody's tools for LGD and ECL calculation</a:t>
              </a:r>
            </a:p>
            <a:p>
              <a:pPr marL="171450" indent="-171450">
                <a:spcBef>
                  <a:spcPts val="200"/>
                </a:spcBef>
                <a:buFont typeface="Wingdings" panose="05000000000000000000" pitchFamily="2" charset="2"/>
                <a:buChar char="§"/>
              </a:pPr>
              <a:r>
                <a:rPr lang="en-US" sz="1000" dirty="0">
                  <a:solidFill>
                    <a:srgbClr val="003672"/>
                  </a:solidFill>
                  <a:latin typeface="Raleway" pitchFamily="2" charset="0"/>
                  <a:ea typeface="Calibri" panose="020F0502020204030204" pitchFamily="34" charset="0"/>
                  <a:cs typeface="Times New Roman" panose="02020603050405020304" pitchFamily="18" charset="0"/>
                </a:rPr>
                <a:t>Automation – Integrated Data Management, ECL scoring, CBJ Reporting</a:t>
              </a:r>
            </a:p>
            <a:p>
              <a:pPr marL="171450" indent="-171450">
                <a:spcBef>
                  <a:spcPts val="200"/>
                </a:spcBef>
                <a:buFont typeface="Wingdings" panose="05000000000000000000" pitchFamily="2" charset="2"/>
                <a:buChar char="§"/>
              </a:pPr>
              <a:r>
                <a:rPr lang="en-US" sz="1000" b="1" dirty="0">
                  <a:solidFill>
                    <a:srgbClr val="003672"/>
                  </a:solidFill>
                  <a:effectLst/>
                  <a:latin typeface="Raleway" pitchFamily="2" charset="0"/>
                  <a:ea typeface="Calibri" panose="020F0502020204030204" pitchFamily="34" charset="0"/>
                  <a:cs typeface="Times New Roman" panose="02020603050405020304" pitchFamily="18" charset="0"/>
                </a:rPr>
                <a:t>New Mandate : </a:t>
              </a:r>
              <a:r>
                <a:rPr lang="en-US" sz="1000" dirty="0">
                  <a:solidFill>
                    <a:srgbClr val="003672"/>
                  </a:solidFill>
                  <a:effectLst/>
                  <a:latin typeface="Raleway" pitchFamily="2" charset="0"/>
                  <a:ea typeface="Calibri" panose="020F0502020204030204" pitchFamily="34" charset="0"/>
                  <a:cs typeface="Times New Roman" panose="02020603050405020304" pitchFamily="18" charset="0"/>
                </a:rPr>
                <a:t>System for ALM, CAP, ICAAP, Stress Testing and EWS. </a:t>
              </a:r>
              <a:endParaRPr lang="en-GB" sz="1000" dirty="0">
                <a:solidFill>
                  <a:srgbClr val="003672"/>
                </a:solidFill>
                <a:effectLst/>
                <a:latin typeface="Raleway" pitchFamily="2" charset="0"/>
                <a:ea typeface="Calibri" panose="020F0502020204030204" pitchFamily="34" charset="0"/>
                <a:cs typeface="Times New Roman" panose="02020603050405020304" pitchFamily="18" charset="0"/>
              </a:endParaRPr>
            </a:p>
          </p:txBody>
        </p:sp>
        <p:sp>
          <p:nvSpPr>
            <p:cNvPr id="1048671" name="Rectangle: Rounded Corners 43"/>
            <p:cNvSpPr/>
            <p:nvPr/>
          </p:nvSpPr>
          <p:spPr>
            <a:xfrm>
              <a:off x="6432951" y="3280735"/>
              <a:ext cx="1523262" cy="36576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2">
                      <a:lumMod val="25000"/>
                    </a:schemeClr>
                  </a:solidFill>
                </a:rPr>
                <a:t>Jordan Kuwait Bank Group</a:t>
              </a:r>
              <a:endParaRPr lang="en-US" sz="1000" b="1" dirty="0">
                <a:solidFill>
                  <a:schemeClr val="bg2">
                    <a:lumMod val="25000"/>
                  </a:schemeClr>
                </a:solidFill>
                <a:latin typeface="Raleway" pitchFamily="2" charset="0"/>
              </a:endParaRPr>
            </a:p>
          </p:txBody>
        </p:sp>
        <p:grpSp>
          <p:nvGrpSpPr>
            <p:cNvPr id="128" name="Group 45"/>
            <p:cNvGrpSpPr/>
            <p:nvPr/>
          </p:nvGrpSpPr>
          <p:grpSpPr>
            <a:xfrm>
              <a:off x="6465945" y="2660564"/>
              <a:ext cx="1332596" cy="526435"/>
              <a:chOff x="9055990" y="2933544"/>
              <a:chExt cx="2076733" cy="569469"/>
            </a:xfrm>
          </p:grpSpPr>
          <p:pic>
            <p:nvPicPr>
              <p:cNvPr id="2097182" name="Picture 22"/>
              <p:cNvPicPr>
                <a:picLocks noChangeAspect="1"/>
              </p:cNvPicPr>
              <p:nvPr/>
            </p:nvPicPr>
            <p:blipFill rotWithShape="1">
              <a:blip r:embed="rId4" cstate="print"/>
              <a:srcRect l="2444" t="7805" r="3066" b="21339"/>
              <a:stretch>
                <a:fillRect/>
              </a:stretch>
            </p:blipFill>
            <p:spPr>
              <a:xfrm>
                <a:off x="9055990" y="2933544"/>
                <a:ext cx="2076733" cy="569469"/>
              </a:xfrm>
              <a:prstGeom prst="rect">
                <a:avLst/>
              </a:prstGeom>
            </p:spPr>
          </p:pic>
          <p:sp>
            <p:nvSpPr>
              <p:cNvPr id="1048672" name="Rectangle 27"/>
              <p:cNvSpPr/>
              <p:nvPr/>
            </p:nvSpPr>
            <p:spPr>
              <a:xfrm rot="18722134">
                <a:off x="9398504" y="3218611"/>
                <a:ext cx="129309" cy="12105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grpSp>
      <p:grpSp>
        <p:nvGrpSpPr>
          <p:cNvPr id="9" name="Group 8">
            <a:extLst>
              <a:ext uri="{FF2B5EF4-FFF2-40B4-BE49-F238E27FC236}">
                <a16:creationId xmlns:a16="http://schemas.microsoft.com/office/drawing/2014/main" id="{4E8E12F0-FC0E-4D05-8CA4-066FFE1BAF9B}"/>
              </a:ext>
            </a:extLst>
          </p:cNvPr>
          <p:cNvGrpSpPr/>
          <p:nvPr/>
        </p:nvGrpSpPr>
        <p:grpSpPr>
          <a:xfrm>
            <a:off x="8061650" y="2869887"/>
            <a:ext cx="1984248" cy="2928778"/>
            <a:chOff x="8143525" y="2780390"/>
            <a:chExt cx="1984248" cy="2928778"/>
          </a:xfrm>
        </p:grpSpPr>
        <p:sp>
          <p:nvSpPr>
            <p:cNvPr id="56" name="TextBox 5">
              <a:extLst>
                <a:ext uri="{FF2B5EF4-FFF2-40B4-BE49-F238E27FC236}">
                  <a16:creationId xmlns:a16="http://schemas.microsoft.com/office/drawing/2014/main" id="{2DDE6B21-0524-49F0-9754-21539CAE1869}"/>
                </a:ext>
              </a:extLst>
            </p:cNvPr>
            <p:cNvSpPr txBox="1"/>
            <p:nvPr/>
          </p:nvSpPr>
          <p:spPr>
            <a:xfrm>
              <a:off x="8143525" y="3693232"/>
              <a:ext cx="1984248" cy="2015936"/>
            </a:xfrm>
            <a:prstGeom prst="rect">
              <a:avLst/>
            </a:prstGeom>
            <a:noFill/>
          </p:spPr>
          <p:txBody>
            <a:bodyPr wrap="square">
              <a:spAutoFit/>
            </a:bodyPr>
            <a:lstStyle/>
            <a:p>
              <a:pPr algn="ctr">
                <a:spcBef>
                  <a:spcPts val="200"/>
                </a:spcBef>
              </a:pPr>
              <a:r>
                <a:rPr lang="en-US" sz="1000" b="1" dirty="0">
                  <a:solidFill>
                    <a:srgbClr val="1A449A"/>
                  </a:solidFill>
                  <a:latin typeface="Raleway" pitchFamily="2" charset="0"/>
                  <a:ea typeface="Calibri" panose="020F0502020204030204" pitchFamily="34" charset="0"/>
                  <a:cs typeface="Times New Roman" panose="02020603050405020304" pitchFamily="18" charset="0"/>
                </a:rPr>
                <a:t>United Arab Emirates</a:t>
              </a:r>
            </a:p>
            <a:p>
              <a:pPr marL="171450" indent="-171450">
                <a:spcBef>
                  <a:spcPts val="200"/>
                </a:spcBef>
                <a:buFont typeface="Wingdings" panose="05000000000000000000" pitchFamily="2" charset="2"/>
                <a:buChar char="§"/>
              </a:pPr>
              <a:r>
                <a:rPr lang="en-US" sz="1000" dirty="0">
                  <a:solidFill>
                    <a:srgbClr val="1A449A"/>
                  </a:solidFill>
                  <a:latin typeface="Raleway" pitchFamily="2" charset="0"/>
                </a:rPr>
                <a:t>Review of IFRS 9 ECL computation and accounting CVA / DVA for derivative exposures</a:t>
              </a:r>
              <a:endParaRPr lang="en-US" sz="1000" dirty="0">
                <a:solidFill>
                  <a:srgbClr val="1A449A"/>
                </a:solidFill>
                <a:latin typeface="Raleway" pitchFamily="2" charset="0"/>
                <a:ea typeface="Calibri" panose="020F0502020204030204" pitchFamily="34" charset="0"/>
                <a:cs typeface="Times New Roman" panose="02020603050405020304" pitchFamily="18" charset="0"/>
              </a:endParaRPr>
            </a:p>
            <a:p>
              <a:pPr marL="171450" indent="-171450">
                <a:spcBef>
                  <a:spcPts val="200"/>
                </a:spcBef>
                <a:buFont typeface="Wingdings" panose="05000000000000000000" pitchFamily="2" charset="2"/>
                <a:buChar char="§"/>
              </a:pPr>
              <a:r>
                <a:rPr lang="en-US" sz="1000" dirty="0">
                  <a:solidFill>
                    <a:srgbClr val="1A449A"/>
                  </a:solidFill>
                  <a:latin typeface="Raleway" pitchFamily="2" charset="0"/>
                  <a:ea typeface="Calibri" panose="020F0502020204030204" pitchFamily="34" charset="0"/>
                  <a:cs typeface="Times New Roman" panose="02020603050405020304" pitchFamily="18" charset="0"/>
                </a:rPr>
                <a:t>Validation of Credit Value Adjustment for Derivative exposures</a:t>
              </a:r>
            </a:p>
            <a:p>
              <a:pPr marL="171450" indent="-171450">
                <a:spcBef>
                  <a:spcPts val="200"/>
                </a:spcBef>
                <a:buFont typeface="Wingdings" panose="05000000000000000000" pitchFamily="2" charset="2"/>
                <a:buChar char="§"/>
              </a:pPr>
              <a:r>
                <a:rPr lang="en-US" sz="1000" dirty="0">
                  <a:solidFill>
                    <a:srgbClr val="1A449A"/>
                  </a:solidFill>
                  <a:latin typeface="Raleway" pitchFamily="2" charset="0"/>
                  <a:ea typeface="Calibri" panose="020F0502020204030204" pitchFamily="34" charset="0"/>
                  <a:cs typeface="Times New Roman" panose="02020603050405020304" pitchFamily="18" charset="0"/>
                </a:rPr>
                <a:t>Validation of Standardized Approach Country party Credit Risk Framework for Derivatives</a:t>
              </a:r>
            </a:p>
          </p:txBody>
        </p:sp>
        <p:sp>
          <p:nvSpPr>
            <p:cNvPr id="57" name="Rectangle: Rounded Corners 39">
              <a:extLst>
                <a:ext uri="{FF2B5EF4-FFF2-40B4-BE49-F238E27FC236}">
                  <a16:creationId xmlns:a16="http://schemas.microsoft.com/office/drawing/2014/main" id="{924EBEE0-9523-4E5F-B3C0-55E0D1758D9C}"/>
                </a:ext>
              </a:extLst>
            </p:cNvPr>
            <p:cNvSpPr/>
            <p:nvPr/>
          </p:nvSpPr>
          <p:spPr>
            <a:xfrm>
              <a:off x="8328325" y="3280735"/>
              <a:ext cx="1614649" cy="365760"/>
            </a:xfrm>
            <a:prstGeom prst="roundRect">
              <a:avLst/>
            </a:prstGeom>
            <a:solidFill>
              <a:srgbClr val="F58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Raleway" pitchFamily="2" charset="0"/>
                </a:rPr>
                <a:t>Mashreq Bank</a:t>
              </a:r>
            </a:p>
          </p:txBody>
        </p:sp>
        <p:pic>
          <p:nvPicPr>
            <p:cNvPr id="58" name="Picture 2">
              <a:extLst>
                <a:ext uri="{FF2B5EF4-FFF2-40B4-BE49-F238E27FC236}">
                  <a16:creationId xmlns:a16="http://schemas.microsoft.com/office/drawing/2014/main" id="{161B99DC-7B32-4DF9-BC63-AA06AD1DAC89}"/>
                </a:ext>
              </a:extLst>
            </p:cNvPr>
            <p:cNvPicPr>
              <a:picLocks noChangeAspect="1"/>
            </p:cNvPicPr>
            <p:nvPr/>
          </p:nvPicPr>
          <p:blipFill rotWithShape="1">
            <a:blip r:embed="rId5" cstate="print"/>
            <a:srcRect t="16988" b="18418"/>
            <a:stretch>
              <a:fillRect/>
            </a:stretch>
          </p:blipFill>
          <p:spPr>
            <a:xfrm>
              <a:off x="8299860" y="2780390"/>
              <a:ext cx="1289778" cy="365760"/>
            </a:xfrm>
            <a:prstGeom prst="rect">
              <a:avLst/>
            </a:prstGeom>
          </p:spPr>
        </p:pic>
      </p:grpSp>
      <p:grpSp>
        <p:nvGrpSpPr>
          <p:cNvPr id="34" name="Group 33">
            <a:extLst>
              <a:ext uri="{FF2B5EF4-FFF2-40B4-BE49-F238E27FC236}">
                <a16:creationId xmlns:a16="http://schemas.microsoft.com/office/drawing/2014/main" id="{1AF1CD2D-2F95-4702-98F0-41E3D9FC6192}"/>
              </a:ext>
            </a:extLst>
          </p:cNvPr>
          <p:cNvGrpSpPr/>
          <p:nvPr/>
        </p:nvGrpSpPr>
        <p:grpSpPr>
          <a:xfrm>
            <a:off x="32855" y="2814536"/>
            <a:ext cx="2011680" cy="3528052"/>
            <a:chOff x="2343582" y="3099559"/>
            <a:chExt cx="2011680" cy="3528052"/>
          </a:xfrm>
        </p:grpSpPr>
        <p:sp>
          <p:nvSpPr>
            <p:cNvPr id="35" name="Rectangle: Rounded Corners 40">
              <a:extLst>
                <a:ext uri="{FF2B5EF4-FFF2-40B4-BE49-F238E27FC236}">
                  <a16:creationId xmlns:a16="http://schemas.microsoft.com/office/drawing/2014/main" id="{39891884-3EBC-4AFF-A3B5-F25CC88A8C13}"/>
                </a:ext>
              </a:extLst>
            </p:cNvPr>
            <p:cNvSpPr/>
            <p:nvPr/>
          </p:nvSpPr>
          <p:spPr>
            <a:xfrm>
              <a:off x="2577262" y="3712160"/>
              <a:ext cx="1544320" cy="365760"/>
            </a:xfrm>
            <a:prstGeom prst="roundRect">
              <a:avLst/>
            </a:prstGeom>
            <a:solidFill>
              <a:srgbClr val="C9D2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3672"/>
                  </a:solidFill>
                  <a:latin typeface="Raleway" pitchFamily="2" charset="0"/>
                </a:rPr>
                <a:t>Al Rajhi Bank </a:t>
              </a:r>
            </a:p>
          </p:txBody>
        </p:sp>
        <p:sp>
          <p:nvSpPr>
            <p:cNvPr id="36" name="TextBox 38">
              <a:extLst>
                <a:ext uri="{FF2B5EF4-FFF2-40B4-BE49-F238E27FC236}">
                  <a16:creationId xmlns:a16="http://schemas.microsoft.com/office/drawing/2014/main" id="{7BAF0751-4DF3-43E8-89DC-0569D6C0D473}"/>
                </a:ext>
              </a:extLst>
            </p:cNvPr>
            <p:cNvSpPr txBox="1"/>
            <p:nvPr/>
          </p:nvSpPr>
          <p:spPr>
            <a:xfrm>
              <a:off x="2343582" y="4098714"/>
              <a:ext cx="2011680" cy="2528897"/>
            </a:xfrm>
            <a:prstGeom prst="rect">
              <a:avLst/>
            </a:prstGeom>
            <a:noFill/>
          </p:spPr>
          <p:txBody>
            <a:bodyPr wrap="square">
              <a:spAutoFit/>
            </a:bodyPr>
            <a:lstStyle/>
            <a:p>
              <a:pPr algn="ctr">
                <a:spcBef>
                  <a:spcPts val="200"/>
                </a:spcBef>
              </a:pPr>
              <a:r>
                <a:rPr lang="en-US" sz="1000" b="1" dirty="0">
                  <a:solidFill>
                    <a:srgbClr val="024EA4"/>
                  </a:solidFill>
                  <a:latin typeface="Raleway" pitchFamily="2" charset="0"/>
                  <a:ea typeface="Calibri" panose="020F0502020204030204" pitchFamily="34" charset="0"/>
                  <a:cs typeface="Times New Roman" panose="02020603050405020304" pitchFamily="18" charset="0"/>
                </a:rPr>
                <a:t>KSA &amp; Jordan</a:t>
              </a:r>
            </a:p>
            <a:p>
              <a:pPr marL="171450" indent="-1714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FRS 9 Model Development &amp; Landscape</a:t>
              </a:r>
            </a:p>
            <a:p>
              <a:pPr marL="171450" indent="-1714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FRS 9 System Implementation </a:t>
              </a:r>
            </a:p>
            <a:p>
              <a:pPr marL="171450" indent="-171450">
                <a:spcBef>
                  <a:spcPts val="200"/>
                </a:spcBef>
                <a:buFont typeface="Wingdings" panose="05000000000000000000" pitchFamily="2" charset="2"/>
                <a:buChar char="§"/>
              </a:pPr>
              <a:r>
                <a:rPr lang="en-US" sz="1000" dirty="0">
                  <a:solidFill>
                    <a:srgbClr val="003672"/>
                  </a:solidFill>
                  <a:latin typeface="Raleway" pitchFamily="2" charset="0"/>
                  <a:ea typeface="Calibri" panose="020F0502020204030204" pitchFamily="34" charset="0"/>
                  <a:cs typeface="Times New Roman" panose="02020603050405020304" pitchFamily="18" charset="0"/>
                </a:rPr>
                <a:t>Automation – Integrat3ed Data Management, ECL scoring, CBJ Reporting</a:t>
              </a:r>
            </a:p>
            <a:p>
              <a:pPr marL="171450" indent="-171450">
                <a:spcBef>
                  <a:spcPts val="200"/>
                </a:spcBef>
                <a:buFont typeface="Wingdings" panose="05000000000000000000" pitchFamily="2" charset="2"/>
                <a:buChar char="§"/>
              </a:pPr>
              <a:r>
                <a:rPr lang="en-US" sz="1000" dirty="0">
                  <a:solidFill>
                    <a:srgbClr val="003672"/>
                  </a:solidFill>
                  <a:latin typeface="Raleway" pitchFamily="2" charset="0"/>
                  <a:cs typeface="Times New Roman" panose="02020603050405020304" pitchFamily="18" charset="0"/>
                </a:rPr>
                <a:t>KSA - Consulting &amp; functional advisory for Oracle Basel II System – Development of Basel II Risk &amp; Finance Logical Data Mart</a:t>
              </a:r>
              <a:endParaRPr lang="en-GB" sz="1000" b="1" dirty="0">
                <a:solidFill>
                  <a:srgbClr val="003672"/>
                </a:solidFill>
                <a:latin typeface="Raleway" pitchFamily="2" charset="0"/>
                <a:ea typeface="Calibri" panose="020F0502020204030204" pitchFamily="34" charset="0"/>
                <a:cs typeface="Times New Roman" panose="02020603050405020304" pitchFamily="18" charset="0"/>
              </a:endParaRPr>
            </a:p>
            <a:p>
              <a:pPr marL="171450" indent="-171450">
                <a:spcBef>
                  <a:spcPts val="200"/>
                </a:spcBef>
                <a:buFont typeface="Wingdings" panose="05000000000000000000" pitchFamily="2" charset="2"/>
                <a:buChar char="§"/>
              </a:pPr>
              <a:endParaRPr lang="en-US" sz="1000" dirty="0">
                <a:solidFill>
                  <a:srgbClr val="024EA4"/>
                </a:solidFill>
                <a:latin typeface="Raleway" pitchFamily="2" charset="0"/>
                <a:ea typeface="Calibri" panose="020F0502020204030204" pitchFamily="34" charset="0"/>
                <a:cs typeface="Times New Roman" panose="02020603050405020304" pitchFamily="18" charset="0"/>
              </a:endParaRPr>
            </a:p>
          </p:txBody>
        </p:sp>
        <p:pic>
          <p:nvPicPr>
            <p:cNvPr id="37" name="Picture 10">
              <a:extLst>
                <a:ext uri="{FF2B5EF4-FFF2-40B4-BE49-F238E27FC236}">
                  <a16:creationId xmlns:a16="http://schemas.microsoft.com/office/drawing/2014/main" id="{9D80BEE7-E146-4E6A-8E5E-7667FEF244E0}"/>
                </a:ext>
              </a:extLst>
            </p:cNvPr>
            <p:cNvPicPr>
              <a:picLocks noChangeAspect="1"/>
            </p:cNvPicPr>
            <p:nvPr/>
          </p:nvPicPr>
          <p:blipFill>
            <a:blip r:embed="rId6" cstate="print"/>
            <a:stretch>
              <a:fillRect/>
            </a:stretch>
          </p:blipFill>
          <p:spPr>
            <a:xfrm>
              <a:off x="2713296" y="3099559"/>
              <a:ext cx="1051045" cy="484325"/>
            </a:xfrm>
            <a:prstGeom prst="rect">
              <a:avLst/>
            </a:prstGeom>
          </p:spPr>
        </p:pic>
      </p:grpSp>
      <p:grpSp>
        <p:nvGrpSpPr>
          <p:cNvPr id="38" name="Group 37">
            <a:extLst>
              <a:ext uri="{FF2B5EF4-FFF2-40B4-BE49-F238E27FC236}">
                <a16:creationId xmlns:a16="http://schemas.microsoft.com/office/drawing/2014/main" id="{729B9194-239D-4BCA-B76B-C243F3444D1C}"/>
              </a:ext>
            </a:extLst>
          </p:cNvPr>
          <p:cNvGrpSpPr/>
          <p:nvPr/>
        </p:nvGrpSpPr>
        <p:grpSpPr>
          <a:xfrm>
            <a:off x="10015435" y="2755280"/>
            <a:ext cx="2011680" cy="3038563"/>
            <a:chOff x="10180320" y="3076087"/>
            <a:chExt cx="2011680" cy="3038563"/>
          </a:xfrm>
        </p:grpSpPr>
        <p:sp>
          <p:nvSpPr>
            <p:cNvPr id="39" name="TextBox 42">
              <a:extLst>
                <a:ext uri="{FF2B5EF4-FFF2-40B4-BE49-F238E27FC236}">
                  <a16:creationId xmlns:a16="http://schemas.microsoft.com/office/drawing/2014/main" id="{52A245E2-AEA8-484D-9788-07C30B255281}"/>
                </a:ext>
              </a:extLst>
            </p:cNvPr>
            <p:cNvSpPr txBox="1"/>
            <p:nvPr/>
          </p:nvSpPr>
          <p:spPr>
            <a:xfrm>
              <a:off x="10180320" y="4098714"/>
              <a:ext cx="2011680" cy="2015936"/>
            </a:xfrm>
            <a:prstGeom prst="rect">
              <a:avLst/>
            </a:prstGeom>
            <a:noFill/>
          </p:spPr>
          <p:txBody>
            <a:bodyPr wrap="square">
              <a:spAutoFit/>
            </a:bodyPr>
            <a:lstStyle/>
            <a:p>
              <a:pPr algn="ctr">
                <a:spcBef>
                  <a:spcPts val="200"/>
                </a:spcBef>
              </a:pPr>
              <a:r>
                <a:rPr lang="sv-SE" sz="1000" b="1" dirty="0">
                  <a:solidFill>
                    <a:srgbClr val="003672"/>
                  </a:solidFill>
                  <a:latin typeface="Raleway" pitchFamily="2" charset="0"/>
                </a:rPr>
                <a:t>Saudi Arabia &amp;  Bahrain</a:t>
              </a:r>
            </a:p>
            <a:p>
              <a:pPr marL="171450" indent="-171450">
                <a:spcBef>
                  <a:spcPts val="200"/>
                </a:spcBef>
                <a:buFont typeface="Wingdings" panose="05000000000000000000" pitchFamily="2" charset="2"/>
                <a:buChar char="§"/>
              </a:pPr>
              <a:r>
                <a:rPr lang="en-US" sz="1000" dirty="0">
                  <a:solidFill>
                    <a:srgbClr val="003672"/>
                  </a:solidFill>
                  <a:latin typeface="Raleway" pitchFamily="2" charset="0"/>
                  <a:ea typeface="Calibri" panose="020F0502020204030204" pitchFamily="34" charset="0"/>
                  <a:cs typeface="Times New Roman" panose="02020603050405020304" pitchFamily="18" charset="0"/>
                </a:rPr>
                <a:t>Validation of Risk Rating Model &amp; Specialized lending Scorecards</a:t>
              </a:r>
            </a:p>
            <a:p>
              <a:pPr marL="171450" indent="-171450">
                <a:spcBef>
                  <a:spcPts val="200"/>
                </a:spcBef>
                <a:buFont typeface="Wingdings" panose="05000000000000000000" pitchFamily="2" charset="2"/>
                <a:buChar char="§"/>
              </a:pPr>
              <a:r>
                <a:rPr lang="en-US" sz="1000" dirty="0" err="1">
                  <a:solidFill>
                    <a:srgbClr val="003672"/>
                  </a:solidFill>
                  <a:latin typeface="Raleway" pitchFamily="2" charset="0"/>
                  <a:ea typeface="Calibri" panose="020F0502020204030204" pitchFamily="34" charset="0"/>
                  <a:cs typeface="Times New Roman" panose="02020603050405020304" pitchFamily="18" charset="0"/>
                </a:rPr>
                <a:t>Devt</a:t>
              </a:r>
              <a:r>
                <a:rPr lang="en-US" sz="1000" dirty="0">
                  <a:solidFill>
                    <a:srgbClr val="003672"/>
                  </a:solidFill>
                  <a:latin typeface="Raleway" pitchFamily="2" charset="0"/>
                  <a:ea typeface="Calibri" panose="020F0502020204030204" pitchFamily="34" charset="0"/>
                  <a:cs typeface="Times New Roman" panose="02020603050405020304" pitchFamily="18" charset="0"/>
                </a:rPr>
                <a:t>. of Market Risk &amp; FTP Framework including implementation of Market Risk System</a:t>
              </a:r>
            </a:p>
            <a:p>
              <a:pPr marL="171450" indent="-171450">
                <a:spcBef>
                  <a:spcPts val="200"/>
                </a:spcBef>
                <a:buFont typeface="Wingdings" panose="05000000000000000000" pitchFamily="2" charset="2"/>
                <a:buChar char="§"/>
              </a:pPr>
              <a:r>
                <a:rPr lang="en-US" sz="1000" dirty="0">
                  <a:solidFill>
                    <a:srgbClr val="003672"/>
                  </a:solidFill>
                  <a:latin typeface="Raleway" pitchFamily="2" charset="0"/>
                  <a:ea typeface="Calibri" panose="020F0502020204030204" pitchFamily="34" charset="0"/>
                  <a:cs typeface="Times New Roman" panose="02020603050405020304" pitchFamily="18" charset="0"/>
                </a:rPr>
                <a:t>Implementation of Credit Risk Rating System for all Rating Models and Scorecards</a:t>
              </a:r>
              <a:endParaRPr lang="en-GB" sz="1000" b="1" dirty="0">
                <a:solidFill>
                  <a:srgbClr val="003672"/>
                </a:solidFill>
                <a:effectLst/>
                <a:latin typeface="Raleway" pitchFamily="2" charset="0"/>
                <a:ea typeface="Calibri" panose="020F0502020204030204" pitchFamily="34" charset="0"/>
                <a:cs typeface="Times New Roman" panose="02020603050405020304" pitchFamily="18" charset="0"/>
              </a:endParaRPr>
            </a:p>
          </p:txBody>
        </p:sp>
        <p:sp>
          <p:nvSpPr>
            <p:cNvPr id="40" name="Rectangle: Rounded Corners 43">
              <a:extLst>
                <a:ext uri="{FF2B5EF4-FFF2-40B4-BE49-F238E27FC236}">
                  <a16:creationId xmlns:a16="http://schemas.microsoft.com/office/drawing/2014/main" id="{B64B1686-EB23-45D9-920B-ED8B90CC8A5C}"/>
                </a:ext>
              </a:extLst>
            </p:cNvPr>
            <p:cNvSpPr/>
            <p:nvPr/>
          </p:nvSpPr>
          <p:spPr>
            <a:xfrm>
              <a:off x="10414000" y="3712160"/>
              <a:ext cx="1544320" cy="365760"/>
            </a:xfrm>
            <a:prstGeom prst="roundRect">
              <a:avLst/>
            </a:prstGeom>
            <a:solidFill>
              <a:srgbClr val="708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Raleway" pitchFamily="2" charset="0"/>
                </a:rPr>
                <a:t>Arab Petroleum Investment Corporate</a:t>
              </a:r>
            </a:p>
          </p:txBody>
        </p:sp>
        <p:pic>
          <p:nvPicPr>
            <p:cNvPr id="41" name="Picture 17">
              <a:extLst>
                <a:ext uri="{FF2B5EF4-FFF2-40B4-BE49-F238E27FC236}">
                  <a16:creationId xmlns:a16="http://schemas.microsoft.com/office/drawing/2014/main" id="{E55AFEB6-A723-4344-B52A-9349459C44B3}"/>
                </a:ext>
              </a:extLst>
            </p:cNvPr>
            <p:cNvPicPr>
              <a:picLocks noChangeAspect="1"/>
            </p:cNvPicPr>
            <p:nvPr/>
          </p:nvPicPr>
          <p:blipFill rotWithShape="1">
            <a:blip r:embed="rId7" cstate="print"/>
            <a:srcRect l="29723" t="5944" r="30490" b="4735"/>
            <a:stretch>
              <a:fillRect/>
            </a:stretch>
          </p:blipFill>
          <p:spPr>
            <a:xfrm>
              <a:off x="10851347" y="3076087"/>
              <a:ext cx="631940" cy="580302"/>
            </a:xfrm>
            <a:prstGeom prst="rect">
              <a:avLst/>
            </a:prstGeom>
          </p:spPr>
        </p:pic>
      </p:grpSp>
      <p:sp>
        <p:nvSpPr>
          <p:cNvPr id="2" name="TextBox 5">
            <a:extLst>
              <a:ext uri="{FF2B5EF4-FFF2-40B4-BE49-F238E27FC236}">
                <a16:creationId xmlns:a16="http://schemas.microsoft.com/office/drawing/2014/main" id="{74046FDD-2ED2-9E1D-3AB8-728812DFBD5F}"/>
              </a:ext>
            </a:extLst>
          </p:cNvPr>
          <p:cNvSpPr txBox="1"/>
          <p:nvPr/>
        </p:nvSpPr>
        <p:spPr>
          <a:xfrm>
            <a:off x="2023391" y="3832370"/>
            <a:ext cx="1884457" cy="2169825"/>
          </a:xfrm>
          <a:prstGeom prst="rect">
            <a:avLst/>
          </a:prstGeom>
          <a:noFill/>
        </p:spPr>
        <p:txBody>
          <a:bodyPr wrap="square">
            <a:spAutoFit/>
          </a:bodyPr>
          <a:lstStyle/>
          <a:p>
            <a:pPr algn="ctr">
              <a:spcBef>
                <a:spcPts val="200"/>
              </a:spcBef>
            </a:pPr>
            <a:r>
              <a:rPr lang="en-US" sz="1000" b="1" dirty="0">
                <a:solidFill>
                  <a:srgbClr val="7D7D7F"/>
                </a:solidFill>
                <a:latin typeface="Raleway" pitchFamily="2" charset="0"/>
              </a:rPr>
              <a:t>Jordan</a:t>
            </a:r>
            <a:endParaRPr lang="en-US" sz="1000" b="1" dirty="0">
              <a:solidFill>
                <a:srgbClr val="7D7D7F"/>
              </a:solidFill>
              <a:latin typeface="Raleway" pitchFamily="2" charset="0"/>
              <a:ea typeface="Calibri" panose="020F0502020204030204" pitchFamily="34" charset="0"/>
              <a:cs typeface="Times New Roman" panose="02020603050405020304" pitchFamily="18" charset="0"/>
            </a:endParaRPr>
          </a:p>
          <a:p>
            <a:pPr marL="171450" indent="-171450">
              <a:spcBef>
                <a:spcPts val="200"/>
              </a:spcBef>
              <a:buFont typeface="Wingdings" panose="05000000000000000000" pitchFamily="2" charset="2"/>
              <a:buChar char="§"/>
            </a:pPr>
            <a:r>
              <a:rPr lang="en-US" sz="1000" dirty="0">
                <a:solidFill>
                  <a:srgbClr val="7D7D7F"/>
                </a:solidFill>
                <a:latin typeface="Raleway" pitchFamily="2" charset="0"/>
                <a:ea typeface="Calibri" panose="020F0502020204030204" pitchFamily="34" charset="0"/>
                <a:cs typeface="Times New Roman" panose="02020603050405020304" pitchFamily="18" charset="0"/>
              </a:rPr>
              <a:t>Validation &amp; Development of IFRS 9 framework</a:t>
            </a:r>
          </a:p>
          <a:p>
            <a:pPr marL="171450" indent="-171450">
              <a:spcBef>
                <a:spcPts val="200"/>
              </a:spcBef>
              <a:buFont typeface="Wingdings" panose="05000000000000000000" pitchFamily="2" charset="2"/>
              <a:buChar char="§"/>
            </a:pPr>
            <a:r>
              <a:rPr lang="en-US" sz="1000" dirty="0">
                <a:solidFill>
                  <a:srgbClr val="7D7D7F"/>
                </a:solidFill>
                <a:latin typeface="Raleway" pitchFamily="2" charset="0"/>
                <a:ea typeface="Calibri" panose="020F0502020204030204" pitchFamily="34" charset="0"/>
                <a:cs typeface="Times New Roman" panose="02020603050405020304" pitchFamily="18" charset="0"/>
              </a:rPr>
              <a:t>Comprehensive IFRS 9 System &amp; CBJ Reporting including </a:t>
            </a:r>
          </a:p>
          <a:p>
            <a:pPr marL="171450" indent="-171450">
              <a:spcBef>
                <a:spcPts val="200"/>
              </a:spcBef>
              <a:buFont typeface="Wingdings" panose="05000000000000000000" pitchFamily="2" charset="2"/>
              <a:buChar char="§"/>
            </a:pPr>
            <a:r>
              <a:rPr lang="en-US" sz="1000" dirty="0">
                <a:solidFill>
                  <a:srgbClr val="7D7D7F"/>
                </a:solidFill>
                <a:latin typeface="Raleway" pitchFamily="2" charset="0"/>
                <a:ea typeface="Calibri" panose="020F0502020204030204" pitchFamily="34" charset="0"/>
                <a:cs typeface="Times New Roman" panose="02020603050405020304" pitchFamily="18" charset="0"/>
              </a:rPr>
              <a:t>Complete Automation – Integrated Data Management, IFRS 9 Business Rules, ECL calculation, Regulatory Reporting</a:t>
            </a:r>
          </a:p>
        </p:txBody>
      </p:sp>
      <p:sp>
        <p:nvSpPr>
          <p:cNvPr id="3" name="Rectangle: Rounded Corners 39">
            <a:extLst>
              <a:ext uri="{FF2B5EF4-FFF2-40B4-BE49-F238E27FC236}">
                <a16:creationId xmlns:a16="http://schemas.microsoft.com/office/drawing/2014/main" id="{8F6CF9B9-4376-F86E-D46C-308CC8975C9B}"/>
              </a:ext>
            </a:extLst>
          </p:cNvPr>
          <p:cNvSpPr/>
          <p:nvPr/>
        </p:nvSpPr>
        <p:spPr>
          <a:xfrm>
            <a:off x="2256272" y="3411791"/>
            <a:ext cx="1533445" cy="331137"/>
          </a:xfrm>
          <a:prstGeom prst="roundRect">
            <a:avLst/>
          </a:prstGeom>
          <a:solidFill>
            <a:srgbClr val="66A1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Raleway" pitchFamily="2" charset="0"/>
              </a:rPr>
              <a:t>Islamic Arab International Bank </a:t>
            </a:r>
          </a:p>
        </p:txBody>
      </p:sp>
      <p:pic>
        <p:nvPicPr>
          <p:cNvPr id="4" name="Picture 12">
            <a:extLst>
              <a:ext uri="{FF2B5EF4-FFF2-40B4-BE49-F238E27FC236}">
                <a16:creationId xmlns:a16="http://schemas.microsoft.com/office/drawing/2014/main" id="{D093C9DC-D068-31C7-F5E7-9DF60AB2E3BE}"/>
              </a:ext>
            </a:extLst>
          </p:cNvPr>
          <p:cNvPicPr>
            <a:picLocks noChangeAspect="1"/>
          </p:cNvPicPr>
          <p:nvPr/>
        </p:nvPicPr>
        <p:blipFill rotWithShape="1">
          <a:blip r:embed="rId8" cstate="print"/>
          <a:srcRect l="5839" t="8849" r="7643" b="9188"/>
          <a:stretch>
            <a:fillRect/>
          </a:stretch>
        </p:blipFill>
        <p:spPr>
          <a:xfrm>
            <a:off x="2505995" y="2654929"/>
            <a:ext cx="914400" cy="755103"/>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0" name="Group 28"/>
          <p:cNvGrpSpPr/>
          <p:nvPr/>
        </p:nvGrpSpPr>
        <p:grpSpPr>
          <a:xfrm>
            <a:off x="5723744" y="795881"/>
            <a:ext cx="753947" cy="224245"/>
            <a:chOff x="5719027" y="4173124"/>
            <a:chExt cx="753947" cy="261258"/>
          </a:xfrm>
        </p:grpSpPr>
        <p:sp>
          <p:nvSpPr>
            <p:cNvPr id="1048675" name="Isosceles Triangle 32"/>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76" name="Isosceles Triangle 34"/>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8677" name="Isosceles Triangle 36"/>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a:extLst>
              <a:ext uri="{FF2B5EF4-FFF2-40B4-BE49-F238E27FC236}">
                <a16:creationId xmlns:a16="http://schemas.microsoft.com/office/drawing/2014/main" id="{97173799-9CE7-4462-80FD-1AC43F6BB981}"/>
              </a:ext>
            </a:extLst>
          </p:cNvPr>
          <p:cNvGrpSpPr/>
          <p:nvPr/>
        </p:nvGrpSpPr>
        <p:grpSpPr>
          <a:xfrm>
            <a:off x="4549864" y="4005980"/>
            <a:ext cx="2786048" cy="2978562"/>
            <a:chOff x="4313266" y="3289977"/>
            <a:chExt cx="2011680" cy="2978562"/>
          </a:xfrm>
        </p:grpSpPr>
        <p:sp>
          <p:nvSpPr>
            <p:cNvPr id="33" name="TextBox 6">
              <a:extLst>
                <a:ext uri="{FF2B5EF4-FFF2-40B4-BE49-F238E27FC236}">
                  <a16:creationId xmlns:a16="http://schemas.microsoft.com/office/drawing/2014/main" id="{8F8C0D34-0B32-43D0-B2AE-CB3837DA662B}"/>
                </a:ext>
              </a:extLst>
            </p:cNvPr>
            <p:cNvSpPr txBox="1"/>
            <p:nvPr/>
          </p:nvSpPr>
          <p:spPr>
            <a:xfrm>
              <a:off x="4313266" y="4098714"/>
              <a:ext cx="2011680" cy="2169825"/>
            </a:xfrm>
            <a:prstGeom prst="rect">
              <a:avLst/>
            </a:prstGeom>
            <a:noFill/>
          </p:spPr>
          <p:txBody>
            <a:bodyPr wrap="square">
              <a:spAutoFit/>
            </a:bodyPr>
            <a:lstStyle/>
            <a:p>
              <a:pPr algn="ctr">
                <a:spcBef>
                  <a:spcPts val="200"/>
                </a:spcBef>
              </a:pPr>
              <a:r>
                <a:rPr lang="sv-SE" sz="1000" b="1" dirty="0">
                  <a:solidFill>
                    <a:srgbClr val="B28707"/>
                  </a:solidFill>
                  <a:latin typeface="Raleway" pitchFamily="2" charset="0"/>
                </a:rPr>
                <a:t>Jordan</a:t>
              </a:r>
            </a:p>
            <a:p>
              <a:pPr marL="171450" indent="-171450">
                <a:spcBef>
                  <a:spcPts val="200"/>
                </a:spcBef>
                <a:buFont typeface="Wingdings" panose="05000000000000000000" pitchFamily="2" charset="2"/>
                <a:buChar char="§"/>
              </a:pPr>
              <a:r>
                <a:rPr lang="sv-SE" sz="1000" dirty="0">
                  <a:solidFill>
                    <a:srgbClr val="B28707"/>
                  </a:solidFill>
                  <a:latin typeface="Raleway" pitchFamily="2" charset="0"/>
                </a:rPr>
                <a:t>IFRS 9 Model Development &amp; Landscape</a:t>
              </a:r>
            </a:p>
            <a:p>
              <a:pPr marL="171450" indent="-171450">
                <a:spcBef>
                  <a:spcPts val="200"/>
                </a:spcBef>
                <a:buFont typeface="Wingdings" panose="05000000000000000000" pitchFamily="2" charset="2"/>
                <a:buChar char="§"/>
              </a:pPr>
              <a:r>
                <a:rPr lang="sv-SE" sz="1000" dirty="0">
                  <a:solidFill>
                    <a:srgbClr val="B28707"/>
                  </a:solidFill>
                  <a:latin typeface="Raleway" pitchFamily="2" charset="0"/>
                </a:rPr>
                <a:t>Group wide IFRS 9 System Implementation – Integration &amp; Consolidation of data, systems, rules for 6 different entities</a:t>
              </a:r>
            </a:p>
            <a:p>
              <a:pPr marL="171450" indent="-171450">
                <a:spcBef>
                  <a:spcPts val="200"/>
                </a:spcBef>
                <a:buFont typeface="Wingdings" panose="05000000000000000000" pitchFamily="2" charset="2"/>
                <a:buChar char="§"/>
              </a:pPr>
              <a:r>
                <a:rPr lang="sv-SE" sz="1000" dirty="0">
                  <a:solidFill>
                    <a:srgbClr val="B28707"/>
                  </a:solidFill>
                  <a:latin typeface="Raleway" pitchFamily="2" charset="0"/>
                </a:rPr>
                <a:t>Complete Automation – Integrated Data Management, IFRS 9 Business Rules, ECL calculation, CBJ Reporting</a:t>
              </a:r>
            </a:p>
          </p:txBody>
        </p:sp>
        <p:sp>
          <p:nvSpPr>
            <p:cNvPr id="34" name="Rectangle: Rounded Corners 41">
              <a:extLst>
                <a:ext uri="{FF2B5EF4-FFF2-40B4-BE49-F238E27FC236}">
                  <a16:creationId xmlns:a16="http://schemas.microsoft.com/office/drawing/2014/main" id="{BB611BA9-9E8D-45F3-8B41-6CB7421A73F1}"/>
                </a:ext>
              </a:extLst>
            </p:cNvPr>
            <p:cNvSpPr/>
            <p:nvPr/>
          </p:nvSpPr>
          <p:spPr>
            <a:xfrm>
              <a:off x="4546946" y="3712160"/>
              <a:ext cx="1544320" cy="365760"/>
            </a:xfrm>
            <a:prstGeom prst="roundRect">
              <a:avLst/>
            </a:prstGeom>
            <a:solidFill>
              <a:srgbClr val="B28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b="1" dirty="0">
                  <a:solidFill>
                    <a:schemeClr val="bg1"/>
                  </a:solidFill>
                  <a:latin typeface="Raleway" pitchFamily="2" charset="0"/>
                </a:rPr>
                <a:t>InvestBank Group</a:t>
              </a:r>
              <a:endParaRPr lang="en-US" sz="1000" b="1" dirty="0">
                <a:solidFill>
                  <a:schemeClr val="bg1"/>
                </a:solidFill>
                <a:latin typeface="Raleway" pitchFamily="2" charset="0"/>
              </a:endParaRPr>
            </a:p>
          </p:txBody>
        </p:sp>
        <p:pic>
          <p:nvPicPr>
            <p:cNvPr id="35" name="Picture 15">
              <a:extLst>
                <a:ext uri="{FF2B5EF4-FFF2-40B4-BE49-F238E27FC236}">
                  <a16:creationId xmlns:a16="http://schemas.microsoft.com/office/drawing/2014/main" id="{0EDE3B31-2728-424E-9850-C532CF97AAFC}"/>
                </a:ext>
              </a:extLst>
            </p:cNvPr>
            <p:cNvPicPr>
              <a:picLocks noChangeAspect="1"/>
            </p:cNvPicPr>
            <p:nvPr/>
          </p:nvPicPr>
          <p:blipFill>
            <a:blip r:embed="rId2" cstate="print"/>
            <a:stretch>
              <a:fillRect/>
            </a:stretch>
          </p:blipFill>
          <p:spPr>
            <a:xfrm>
              <a:off x="4854224" y="3289977"/>
              <a:ext cx="929764" cy="365760"/>
            </a:xfrm>
            <a:prstGeom prst="rect">
              <a:avLst/>
            </a:prstGeom>
          </p:spPr>
        </p:pic>
      </p:grpSp>
      <p:grpSp>
        <p:nvGrpSpPr>
          <p:cNvPr id="40" name="Group 39">
            <a:extLst>
              <a:ext uri="{FF2B5EF4-FFF2-40B4-BE49-F238E27FC236}">
                <a16:creationId xmlns:a16="http://schemas.microsoft.com/office/drawing/2014/main" id="{2BE035ED-7BBD-4F47-BD67-6B1165C3379B}"/>
              </a:ext>
            </a:extLst>
          </p:cNvPr>
          <p:cNvGrpSpPr/>
          <p:nvPr/>
        </p:nvGrpSpPr>
        <p:grpSpPr>
          <a:xfrm>
            <a:off x="7757302" y="3953783"/>
            <a:ext cx="2768993" cy="3112511"/>
            <a:chOff x="10084591" y="2741494"/>
            <a:chExt cx="1984248" cy="3121563"/>
          </a:xfrm>
        </p:grpSpPr>
        <p:sp>
          <p:nvSpPr>
            <p:cNvPr id="41" name="Rectangle: Rounded Corners 40">
              <a:extLst>
                <a:ext uri="{FF2B5EF4-FFF2-40B4-BE49-F238E27FC236}">
                  <a16:creationId xmlns:a16="http://schemas.microsoft.com/office/drawing/2014/main" id="{8264F2EE-647A-478F-8D22-0078B4E44799}"/>
                </a:ext>
              </a:extLst>
            </p:cNvPr>
            <p:cNvSpPr/>
            <p:nvPr/>
          </p:nvSpPr>
          <p:spPr>
            <a:xfrm>
              <a:off x="10315085" y="3280735"/>
              <a:ext cx="1523261" cy="365760"/>
            </a:xfrm>
            <a:prstGeom prst="roundRect">
              <a:avLst/>
            </a:prstGeom>
            <a:solidFill>
              <a:srgbClr val="C9D2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3672"/>
                  </a:solidFill>
                  <a:latin typeface="Raleway" pitchFamily="2" charset="0"/>
                </a:rPr>
                <a:t>The Arab Investment Company</a:t>
              </a:r>
            </a:p>
          </p:txBody>
        </p:sp>
        <p:sp>
          <p:nvSpPr>
            <p:cNvPr id="42" name="TextBox 38">
              <a:extLst>
                <a:ext uri="{FF2B5EF4-FFF2-40B4-BE49-F238E27FC236}">
                  <a16:creationId xmlns:a16="http://schemas.microsoft.com/office/drawing/2014/main" id="{090D2180-A10A-4E77-9A54-8699228E5372}"/>
                </a:ext>
              </a:extLst>
            </p:cNvPr>
            <p:cNvSpPr txBox="1"/>
            <p:nvPr/>
          </p:nvSpPr>
          <p:spPr>
            <a:xfrm>
              <a:off x="10084591" y="3693232"/>
              <a:ext cx="1984248" cy="2169825"/>
            </a:xfrm>
            <a:prstGeom prst="rect">
              <a:avLst/>
            </a:prstGeom>
            <a:noFill/>
          </p:spPr>
          <p:txBody>
            <a:bodyPr wrap="square">
              <a:spAutoFit/>
            </a:bodyPr>
            <a:lstStyle/>
            <a:p>
              <a:pPr algn="ctr">
                <a:spcBef>
                  <a:spcPts val="200"/>
                </a:spcBef>
              </a:pPr>
              <a:r>
                <a:rPr lang="en-US" sz="1000" b="1" dirty="0">
                  <a:solidFill>
                    <a:srgbClr val="024EA4"/>
                  </a:solidFill>
                  <a:latin typeface="Raleway" pitchFamily="2" charset="0"/>
                  <a:ea typeface="Calibri" panose="020F0502020204030204" pitchFamily="34" charset="0"/>
                  <a:cs typeface="Times New Roman" panose="02020603050405020304" pitchFamily="18" charset="0"/>
                </a:rPr>
                <a:t>KSA &amp; Bahrain</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mplementation of Asset Liability &amp; Liquidity Management System</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mplementation of Basel II Implementation system including reporting based on SAMA guidelines</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mplementation of Credit Risk Rating &amp; Scoring System for Credit Risk Management including Credit Workflow</a:t>
              </a:r>
              <a:endParaRPr lang="en-GB" sz="1000" dirty="0">
                <a:solidFill>
                  <a:srgbClr val="024EA4"/>
                </a:solidFill>
                <a:effectLst/>
                <a:latin typeface="Raleway" pitchFamily="2" charset="0"/>
                <a:ea typeface="Calibri" panose="020F0502020204030204" pitchFamily="34" charset="0"/>
                <a:cs typeface="Times New Roman" panose="02020603050405020304" pitchFamily="18" charset="0"/>
              </a:endParaRPr>
            </a:p>
          </p:txBody>
        </p:sp>
        <p:pic>
          <p:nvPicPr>
            <p:cNvPr id="43" name="Picture 8">
              <a:extLst>
                <a:ext uri="{FF2B5EF4-FFF2-40B4-BE49-F238E27FC236}">
                  <a16:creationId xmlns:a16="http://schemas.microsoft.com/office/drawing/2014/main" id="{63C62075-C018-49A3-AAAE-E6688BED12C8}"/>
                </a:ext>
              </a:extLst>
            </p:cNvPr>
            <p:cNvPicPr>
              <a:picLocks noChangeAspect="1"/>
            </p:cNvPicPr>
            <p:nvPr/>
          </p:nvPicPr>
          <p:blipFill>
            <a:blip r:embed="rId3" cstate="print">
              <a:clrChange>
                <a:clrFrom>
                  <a:srgbClr val="FFFFFF"/>
                </a:clrFrom>
                <a:clrTo>
                  <a:srgbClr val="FFFFFF">
                    <a:alpha val="0"/>
                  </a:srgbClr>
                </a:clrTo>
              </a:clrChange>
            </a:blip>
            <a:stretch>
              <a:fillRect/>
            </a:stretch>
          </p:blipFill>
          <p:spPr>
            <a:xfrm>
              <a:off x="10619515" y="2741494"/>
              <a:ext cx="914400" cy="477101"/>
            </a:xfrm>
            <a:prstGeom prst="rect">
              <a:avLst/>
            </a:prstGeom>
          </p:spPr>
        </p:pic>
      </p:grpSp>
      <p:grpSp>
        <p:nvGrpSpPr>
          <p:cNvPr id="45" name="Group 44">
            <a:extLst>
              <a:ext uri="{FF2B5EF4-FFF2-40B4-BE49-F238E27FC236}">
                <a16:creationId xmlns:a16="http://schemas.microsoft.com/office/drawing/2014/main" id="{8EBE4A3C-3FFF-4302-A592-AD0FDD6BAD5F}"/>
              </a:ext>
            </a:extLst>
          </p:cNvPr>
          <p:cNvGrpSpPr/>
          <p:nvPr/>
        </p:nvGrpSpPr>
        <p:grpSpPr>
          <a:xfrm>
            <a:off x="3190309" y="1362739"/>
            <a:ext cx="2444701" cy="2655923"/>
            <a:chOff x="379257" y="2955916"/>
            <a:chExt cx="1984248" cy="3214917"/>
          </a:xfrm>
        </p:grpSpPr>
        <p:sp>
          <p:nvSpPr>
            <p:cNvPr id="46" name="TextBox 5">
              <a:extLst>
                <a:ext uri="{FF2B5EF4-FFF2-40B4-BE49-F238E27FC236}">
                  <a16:creationId xmlns:a16="http://schemas.microsoft.com/office/drawing/2014/main" id="{9FAFD8EB-047D-49E8-BB22-DB2C2CF628E5}"/>
                </a:ext>
              </a:extLst>
            </p:cNvPr>
            <p:cNvSpPr txBox="1"/>
            <p:nvPr/>
          </p:nvSpPr>
          <p:spPr>
            <a:xfrm>
              <a:off x="379257" y="3693232"/>
              <a:ext cx="1984248" cy="2477601"/>
            </a:xfrm>
            <a:prstGeom prst="rect">
              <a:avLst/>
            </a:prstGeom>
            <a:noFill/>
          </p:spPr>
          <p:txBody>
            <a:bodyPr wrap="square">
              <a:spAutoFit/>
            </a:bodyPr>
            <a:lstStyle/>
            <a:p>
              <a:pPr algn="ctr">
                <a:spcBef>
                  <a:spcPts val="200"/>
                </a:spcBef>
              </a:pPr>
              <a:r>
                <a:rPr lang="en-US" sz="1000" b="1" dirty="0">
                  <a:solidFill>
                    <a:srgbClr val="C00000"/>
                  </a:solidFill>
                  <a:effectLst/>
                  <a:latin typeface="Raleway" pitchFamily="2" charset="0"/>
                  <a:ea typeface="Calibri" panose="020F0502020204030204" pitchFamily="34" charset="0"/>
                  <a:cs typeface="Times New Roman" panose="02020603050405020304" pitchFamily="18" charset="0"/>
                </a:rPr>
                <a:t>India</a:t>
              </a:r>
            </a:p>
            <a:p>
              <a:pPr marL="285750" indent="-285750">
                <a:spcBef>
                  <a:spcPts val="200"/>
                </a:spcBef>
                <a:buFont typeface="Wingdings" panose="05000000000000000000" pitchFamily="2" charset="2"/>
                <a:buChar char="§"/>
              </a:pPr>
              <a:r>
                <a:rPr lang="en-US" sz="1000" dirty="0">
                  <a:solidFill>
                    <a:srgbClr val="C00000"/>
                  </a:solidFill>
                  <a:latin typeface="Raleway" pitchFamily="2" charset="0"/>
                  <a:ea typeface="Calibri" panose="020F0502020204030204" pitchFamily="34" charset="0"/>
                  <a:cs typeface="Times New Roman" panose="02020603050405020304" pitchFamily="18" charset="0"/>
                </a:rPr>
                <a:t>Development &amp; Modification of IFRS 9 Modeling framework</a:t>
              </a:r>
            </a:p>
            <a:p>
              <a:pPr marL="285750" indent="-285750">
                <a:spcBef>
                  <a:spcPts val="200"/>
                </a:spcBef>
                <a:buFont typeface="Wingdings" panose="05000000000000000000" pitchFamily="2" charset="2"/>
                <a:buChar char="§"/>
              </a:pPr>
              <a:r>
                <a:rPr lang="en-US" sz="1000" dirty="0">
                  <a:solidFill>
                    <a:srgbClr val="C00000"/>
                  </a:solidFill>
                  <a:latin typeface="Raleway" pitchFamily="2" charset="0"/>
                  <a:ea typeface="Calibri" panose="020F0502020204030204" pitchFamily="34" charset="0"/>
                  <a:cs typeface="Times New Roman" panose="02020603050405020304" pitchFamily="18" charset="0"/>
                </a:rPr>
                <a:t>Comprehensive IFRS 9 ECL &amp; EIR System Implementation &amp; Reporting including Disclosures</a:t>
              </a:r>
            </a:p>
            <a:p>
              <a:pPr marL="285750" indent="-285750">
                <a:spcBef>
                  <a:spcPts val="200"/>
                </a:spcBef>
                <a:buFont typeface="Wingdings" panose="05000000000000000000" pitchFamily="2" charset="2"/>
                <a:buChar char="§"/>
              </a:pPr>
              <a:r>
                <a:rPr lang="en-US" sz="1000" dirty="0">
                  <a:solidFill>
                    <a:srgbClr val="C00000"/>
                  </a:solidFill>
                  <a:latin typeface="Raleway" pitchFamily="2" charset="0"/>
                  <a:ea typeface="Calibri" panose="020F0502020204030204" pitchFamily="34" charset="0"/>
                  <a:cs typeface="Times New Roman" panose="02020603050405020304" pitchFamily="18" charset="0"/>
                </a:rPr>
                <a:t>Integrated Data Management, Configuration of Business Rules, ECL calculation, Reporting, MIS, Dashboard</a:t>
              </a:r>
              <a:endParaRPr lang="en-GB" sz="1000" dirty="0">
                <a:solidFill>
                  <a:srgbClr val="C00000"/>
                </a:solidFill>
                <a:effectLst/>
                <a:latin typeface="Raleway" pitchFamily="2" charset="0"/>
                <a:ea typeface="Calibri" panose="020F0502020204030204" pitchFamily="34" charset="0"/>
                <a:cs typeface="Times New Roman" panose="02020603050405020304" pitchFamily="18" charset="0"/>
              </a:endParaRPr>
            </a:p>
          </p:txBody>
        </p:sp>
        <p:sp>
          <p:nvSpPr>
            <p:cNvPr id="47" name="Rectangle: Rounded Corners 39">
              <a:extLst>
                <a:ext uri="{FF2B5EF4-FFF2-40B4-BE49-F238E27FC236}">
                  <a16:creationId xmlns:a16="http://schemas.microsoft.com/office/drawing/2014/main" id="{FA39F1AE-4661-4CBD-A5F6-A0CF19007BBB}"/>
                </a:ext>
              </a:extLst>
            </p:cNvPr>
            <p:cNvSpPr/>
            <p:nvPr/>
          </p:nvSpPr>
          <p:spPr>
            <a:xfrm>
              <a:off x="564057" y="3280735"/>
              <a:ext cx="1614648" cy="365760"/>
            </a:xfrm>
            <a:prstGeom prst="roundRect">
              <a:avLst/>
            </a:prstGeom>
            <a:solidFill>
              <a:srgbClr val="1744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Raleway" pitchFamily="2" charset="0"/>
                </a:rPr>
                <a:t>Equitas Small Finance Bank</a:t>
              </a:r>
            </a:p>
          </p:txBody>
        </p:sp>
        <p:pic>
          <p:nvPicPr>
            <p:cNvPr id="48" name="Picture 16">
              <a:extLst>
                <a:ext uri="{FF2B5EF4-FFF2-40B4-BE49-F238E27FC236}">
                  <a16:creationId xmlns:a16="http://schemas.microsoft.com/office/drawing/2014/main" id="{2D700465-C508-4265-B3B0-8F5A5B5C86C1}"/>
                </a:ext>
              </a:extLst>
            </p:cNvPr>
            <p:cNvPicPr>
              <a:picLocks noChangeAspect="1"/>
            </p:cNvPicPr>
            <p:nvPr/>
          </p:nvPicPr>
          <p:blipFill rotWithShape="1">
            <a:blip r:embed="rId4" cstate="print"/>
            <a:srcRect t="11945" b="23596"/>
            <a:stretch>
              <a:fillRect/>
            </a:stretch>
          </p:blipFill>
          <p:spPr>
            <a:xfrm>
              <a:off x="914181" y="2955916"/>
              <a:ext cx="914400" cy="262679"/>
            </a:xfrm>
            <a:prstGeom prst="rect">
              <a:avLst/>
            </a:prstGeom>
          </p:spPr>
        </p:pic>
      </p:grpSp>
      <p:grpSp>
        <p:nvGrpSpPr>
          <p:cNvPr id="49" name="Group 48">
            <a:extLst>
              <a:ext uri="{FF2B5EF4-FFF2-40B4-BE49-F238E27FC236}">
                <a16:creationId xmlns:a16="http://schemas.microsoft.com/office/drawing/2014/main" id="{0953A061-2F1E-44C3-9A22-2AC2C6DBB94B}"/>
              </a:ext>
            </a:extLst>
          </p:cNvPr>
          <p:cNvGrpSpPr/>
          <p:nvPr/>
        </p:nvGrpSpPr>
        <p:grpSpPr>
          <a:xfrm>
            <a:off x="9133934" y="933749"/>
            <a:ext cx="2768992" cy="2816318"/>
            <a:chOff x="7610418" y="1892148"/>
            <a:chExt cx="2219382" cy="2946699"/>
          </a:xfrm>
        </p:grpSpPr>
        <p:sp>
          <p:nvSpPr>
            <p:cNvPr id="50" name="Rectangle: Rounded Corners 40">
              <a:extLst>
                <a:ext uri="{FF2B5EF4-FFF2-40B4-BE49-F238E27FC236}">
                  <a16:creationId xmlns:a16="http://schemas.microsoft.com/office/drawing/2014/main" id="{1DCD3B70-2878-4514-8C71-7900DA5E3FA5}"/>
                </a:ext>
              </a:extLst>
            </p:cNvPr>
            <p:cNvSpPr/>
            <p:nvPr/>
          </p:nvSpPr>
          <p:spPr>
            <a:xfrm>
              <a:off x="7928025" y="2585327"/>
              <a:ext cx="1703768" cy="365760"/>
            </a:xfrm>
            <a:prstGeom prst="roundRect">
              <a:avLst/>
            </a:prstGeom>
            <a:solidFill>
              <a:srgbClr val="8FD6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3672"/>
                  </a:solidFill>
                  <a:latin typeface="Raleway" pitchFamily="2" charset="0"/>
                </a:rPr>
                <a:t>Banque Saudi </a:t>
              </a:r>
              <a:r>
                <a:rPr lang="en-US" sz="1000" b="1" dirty="0" err="1">
                  <a:solidFill>
                    <a:srgbClr val="003672"/>
                  </a:solidFill>
                  <a:latin typeface="Raleway" pitchFamily="2" charset="0"/>
                </a:rPr>
                <a:t>Fransi</a:t>
              </a:r>
              <a:endParaRPr lang="en-US" sz="1000" b="1" dirty="0">
                <a:solidFill>
                  <a:srgbClr val="003672"/>
                </a:solidFill>
                <a:latin typeface="Raleway" pitchFamily="2" charset="0"/>
              </a:endParaRPr>
            </a:p>
          </p:txBody>
        </p:sp>
        <p:sp>
          <p:nvSpPr>
            <p:cNvPr id="51" name="TextBox 38">
              <a:extLst>
                <a:ext uri="{FF2B5EF4-FFF2-40B4-BE49-F238E27FC236}">
                  <a16:creationId xmlns:a16="http://schemas.microsoft.com/office/drawing/2014/main" id="{133DAA3E-D851-4B2E-87FA-7F90B5202E53}"/>
                </a:ext>
              </a:extLst>
            </p:cNvPr>
            <p:cNvSpPr txBox="1"/>
            <p:nvPr/>
          </p:nvSpPr>
          <p:spPr>
            <a:xfrm>
              <a:off x="7610418" y="2951151"/>
              <a:ext cx="2219382" cy="1887696"/>
            </a:xfrm>
            <a:prstGeom prst="rect">
              <a:avLst/>
            </a:prstGeom>
            <a:noFill/>
          </p:spPr>
          <p:txBody>
            <a:bodyPr wrap="square">
              <a:spAutoFit/>
            </a:bodyPr>
            <a:lstStyle/>
            <a:p>
              <a:pPr algn="ctr">
                <a:spcBef>
                  <a:spcPts val="200"/>
                </a:spcBef>
              </a:pPr>
              <a:r>
                <a:rPr lang="en-US" sz="1000" b="1" dirty="0">
                  <a:solidFill>
                    <a:srgbClr val="005A6B"/>
                  </a:solidFill>
                  <a:latin typeface="Raleway" pitchFamily="2" charset="0"/>
                  <a:ea typeface="Calibri" panose="020F0502020204030204" pitchFamily="34" charset="0"/>
                  <a:cs typeface="Times New Roman" panose="02020603050405020304" pitchFamily="18" charset="0"/>
                </a:rPr>
                <a:t>Saudi Arabia</a:t>
              </a:r>
            </a:p>
            <a:p>
              <a:pPr marL="171450" marR="0" lvl="0" indent="-171450" fontAlgn="base">
                <a:lnSpc>
                  <a:spcPct val="100000"/>
                </a:lnSpc>
                <a:spcBef>
                  <a:spcPts val="200"/>
                </a:spcBef>
                <a:spcAft>
                  <a:spcPct val="0"/>
                </a:spcAft>
                <a:buClrTx/>
                <a:buSzPct val="75000"/>
                <a:buFont typeface="Wingdings" panose="05000000000000000000" pitchFamily="2" charset="2"/>
                <a:buChar char="§"/>
                <a:tabLst/>
                <a:defRPr/>
              </a:pPr>
              <a:r>
                <a:rPr lang="en-US" sz="1000" dirty="0">
                  <a:solidFill>
                    <a:srgbClr val="005A6B"/>
                  </a:solidFill>
                  <a:latin typeface="Raleway" pitchFamily="2" charset="0"/>
                  <a:cs typeface="Times New Roman" panose="02020603050405020304" pitchFamily="18" charset="0"/>
                </a:rPr>
                <a:t>Functional Consulting &amp; Advisory Support for Algorithmic Basel II &amp; Credit Workflow System Implementation</a:t>
              </a:r>
            </a:p>
            <a:p>
              <a:pPr marL="171450" indent="-171450">
                <a:spcBef>
                  <a:spcPts val="200"/>
                </a:spcBef>
                <a:buFont typeface="Wingdings" panose="05000000000000000000" pitchFamily="2" charset="2"/>
                <a:buChar char="§"/>
              </a:pPr>
              <a:r>
                <a:rPr lang="en-US" sz="1000" dirty="0">
                  <a:solidFill>
                    <a:srgbClr val="005A6B"/>
                  </a:solidFill>
                  <a:latin typeface="Raleway" pitchFamily="2" charset="0"/>
                  <a:ea typeface="Calibri" panose="020F0502020204030204" pitchFamily="34" charset="0"/>
                  <a:cs typeface="Times New Roman" panose="02020603050405020304" pitchFamily="18" charset="0"/>
                </a:rPr>
                <a:t>Risk Appetite Framework </a:t>
              </a:r>
              <a:r>
                <a:rPr lang="en-US" sz="1000" dirty="0" err="1">
                  <a:solidFill>
                    <a:srgbClr val="005A6B"/>
                  </a:solidFill>
                  <a:latin typeface="Raleway" pitchFamily="2" charset="0"/>
                  <a:ea typeface="Calibri" panose="020F0502020204030204" pitchFamily="34" charset="0"/>
                  <a:cs typeface="Times New Roman" panose="02020603050405020304" pitchFamily="18" charset="0"/>
                </a:rPr>
                <a:t>devt</a:t>
              </a:r>
              <a:endParaRPr lang="en-US" sz="1000" dirty="0">
                <a:solidFill>
                  <a:srgbClr val="005A6B"/>
                </a:solidFill>
                <a:latin typeface="Raleway" pitchFamily="2" charset="0"/>
                <a:ea typeface="Calibri" panose="020F0502020204030204" pitchFamily="34" charset="0"/>
                <a:cs typeface="Times New Roman" panose="02020603050405020304" pitchFamily="18" charset="0"/>
              </a:endParaRPr>
            </a:p>
            <a:p>
              <a:pPr marL="171450" indent="-171450">
                <a:spcBef>
                  <a:spcPts val="200"/>
                </a:spcBef>
                <a:buFont typeface="Wingdings" panose="05000000000000000000" pitchFamily="2" charset="2"/>
                <a:buChar char="§"/>
              </a:pPr>
              <a:r>
                <a:rPr lang="en-US" sz="1000" dirty="0">
                  <a:solidFill>
                    <a:srgbClr val="005A6B"/>
                  </a:solidFill>
                  <a:latin typeface="Raleway" pitchFamily="2" charset="0"/>
                  <a:ea typeface="Calibri" panose="020F0502020204030204" pitchFamily="34" charset="0"/>
                  <a:cs typeface="Times New Roman" panose="02020603050405020304" pitchFamily="18" charset="0"/>
                </a:rPr>
                <a:t>Facility Risk Rating &amp; Collateral Management </a:t>
              </a:r>
            </a:p>
            <a:p>
              <a:pPr marL="171450" indent="-171450">
                <a:spcBef>
                  <a:spcPts val="200"/>
                </a:spcBef>
                <a:buFont typeface="Wingdings" panose="05000000000000000000" pitchFamily="2" charset="2"/>
                <a:buChar char="§"/>
              </a:pPr>
              <a:r>
                <a:rPr lang="en-US" sz="1000" dirty="0">
                  <a:solidFill>
                    <a:srgbClr val="005A6B"/>
                  </a:solidFill>
                  <a:latin typeface="Raleway" pitchFamily="2" charset="0"/>
                  <a:ea typeface="Calibri" panose="020F0502020204030204" pitchFamily="34" charset="0"/>
                  <a:cs typeface="Times New Roman" panose="02020603050405020304" pitchFamily="18" charset="0"/>
                </a:rPr>
                <a:t>Rollout of RCSA framework &amp; Workshops</a:t>
              </a:r>
              <a:endParaRPr lang="en-GB" sz="1000" dirty="0">
                <a:solidFill>
                  <a:srgbClr val="005A6B"/>
                </a:solidFill>
                <a:effectLst/>
                <a:latin typeface="Raleway" pitchFamily="2" charset="0"/>
                <a:ea typeface="Calibri" panose="020F0502020204030204" pitchFamily="34" charset="0"/>
                <a:cs typeface="Times New Roman" panose="02020603050405020304" pitchFamily="18" charset="0"/>
              </a:endParaRPr>
            </a:p>
          </p:txBody>
        </p:sp>
        <p:pic>
          <p:nvPicPr>
            <p:cNvPr id="52" name="Picture 13">
              <a:extLst>
                <a:ext uri="{FF2B5EF4-FFF2-40B4-BE49-F238E27FC236}">
                  <a16:creationId xmlns:a16="http://schemas.microsoft.com/office/drawing/2014/main" id="{43BB7A7F-6B26-4A05-A70D-BC7A4B3AE4EC}"/>
                </a:ext>
              </a:extLst>
            </p:cNvPr>
            <p:cNvPicPr>
              <a:picLocks noChangeAspect="1"/>
            </p:cNvPicPr>
            <p:nvPr/>
          </p:nvPicPr>
          <p:blipFill rotWithShape="1">
            <a:blip r:embed="rId5" cstate="print"/>
            <a:srcRect b="15760"/>
            <a:stretch>
              <a:fillRect/>
            </a:stretch>
          </p:blipFill>
          <p:spPr>
            <a:xfrm>
              <a:off x="8283775" y="1892148"/>
              <a:ext cx="747079" cy="583406"/>
            </a:xfrm>
            <a:prstGeom prst="rect">
              <a:avLst/>
            </a:prstGeom>
          </p:spPr>
        </p:pic>
      </p:grpSp>
      <p:sp>
        <p:nvSpPr>
          <p:cNvPr id="32" name="Title 3">
            <a:extLst>
              <a:ext uri="{FF2B5EF4-FFF2-40B4-BE49-F238E27FC236}">
                <a16:creationId xmlns:a16="http://schemas.microsoft.com/office/drawing/2014/main" id="{5F231C27-E182-4B59-9E5B-EF39FCD93512}"/>
              </a:ext>
            </a:extLst>
          </p:cNvPr>
          <p:cNvSpPr txBox="1">
            <a:spLocks/>
          </p:cNvSpPr>
          <p:nvPr/>
        </p:nvSpPr>
        <p:spPr>
          <a:xfrm>
            <a:off x="928092" y="92775"/>
            <a:ext cx="10515600" cy="584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a:t>OUR KEY CLIENTS -</a:t>
            </a:r>
            <a:r>
              <a:rPr lang="en-US" sz="2800" b="1">
                <a:solidFill>
                  <a:srgbClr val="5791D8"/>
                </a:solidFill>
              </a:rPr>
              <a:t> RISK MANAGEMENT PROJECTS</a:t>
            </a:r>
            <a:endParaRPr lang="en-US" sz="2800" b="1" dirty="0">
              <a:solidFill>
                <a:srgbClr val="5791D8"/>
              </a:solidFill>
            </a:endParaRPr>
          </a:p>
        </p:txBody>
      </p:sp>
      <p:grpSp>
        <p:nvGrpSpPr>
          <p:cNvPr id="36" name="Group 35">
            <a:extLst>
              <a:ext uri="{FF2B5EF4-FFF2-40B4-BE49-F238E27FC236}">
                <a16:creationId xmlns:a16="http://schemas.microsoft.com/office/drawing/2014/main" id="{F4F5659F-A552-D314-AB83-A248FF315550}"/>
              </a:ext>
            </a:extLst>
          </p:cNvPr>
          <p:cNvGrpSpPr/>
          <p:nvPr/>
        </p:nvGrpSpPr>
        <p:grpSpPr>
          <a:xfrm>
            <a:off x="1551316" y="4188860"/>
            <a:ext cx="2627028" cy="2437225"/>
            <a:chOff x="2320324" y="2964167"/>
            <a:chExt cx="1984248" cy="2437225"/>
          </a:xfrm>
        </p:grpSpPr>
        <p:sp>
          <p:nvSpPr>
            <p:cNvPr id="44" name="Rectangle: Rounded Corners 40">
              <a:extLst>
                <a:ext uri="{FF2B5EF4-FFF2-40B4-BE49-F238E27FC236}">
                  <a16:creationId xmlns:a16="http://schemas.microsoft.com/office/drawing/2014/main" id="{24F69BC3-F231-CD3E-C2DB-432FDF7BED0A}"/>
                </a:ext>
              </a:extLst>
            </p:cNvPr>
            <p:cNvSpPr/>
            <p:nvPr/>
          </p:nvSpPr>
          <p:spPr>
            <a:xfrm>
              <a:off x="2550817" y="3280735"/>
              <a:ext cx="1523262" cy="365760"/>
            </a:xfrm>
            <a:prstGeom prst="roundRect">
              <a:avLst/>
            </a:prstGeom>
            <a:solidFill>
              <a:srgbClr val="8183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Raleway" pitchFamily="2" charset="0"/>
                </a:rPr>
                <a:t>Edelweiss Finance</a:t>
              </a:r>
            </a:p>
          </p:txBody>
        </p:sp>
        <p:pic>
          <p:nvPicPr>
            <p:cNvPr id="53" name="Picture 18">
              <a:extLst>
                <a:ext uri="{FF2B5EF4-FFF2-40B4-BE49-F238E27FC236}">
                  <a16:creationId xmlns:a16="http://schemas.microsoft.com/office/drawing/2014/main" id="{581DEA7A-5099-7B88-1586-FA91A033C0E8}"/>
                </a:ext>
              </a:extLst>
            </p:cNvPr>
            <p:cNvPicPr>
              <a:picLocks noChangeAspect="1"/>
            </p:cNvPicPr>
            <p:nvPr/>
          </p:nvPicPr>
          <p:blipFill>
            <a:blip r:embed="rId6" cstate="print"/>
            <a:stretch>
              <a:fillRect/>
            </a:stretch>
          </p:blipFill>
          <p:spPr>
            <a:xfrm>
              <a:off x="2855248" y="2964167"/>
              <a:ext cx="914400" cy="254428"/>
            </a:xfrm>
            <a:prstGeom prst="rect">
              <a:avLst/>
            </a:prstGeom>
          </p:spPr>
        </p:pic>
        <p:sp>
          <p:nvSpPr>
            <p:cNvPr id="54" name="TextBox 38">
              <a:extLst>
                <a:ext uri="{FF2B5EF4-FFF2-40B4-BE49-F238E27FC236}">
                  <a16:creationId xmlns:a16="http://schemas.microsoft.com/office/drawing/2014/main" id="{87B1C0E1-09F6-965F-A3D1-E0088C372E71}"/>
                </a:ext>
              </a:extLst>
            </p:cNvPr>
            <p:cNvSpPr txBox="1"/>
            <p:nvPr/>
          </p:nvSpPr>
          <p:spPr>
            <a:xfrm>
              <a:off x="2320324" y="3693232"/>
              <a:ext cx="1984248" cy="1708160"/>
            </a:xfrm>
            <a:prstGeom prst="rect">
              <a:avLst/>
            </a:prstGeom>
            <a:noFill/>
          </p:spPr>
          <p:txBody>
            <a:bodyPr wrap="square">
              <a:spAutoFit/>
            </a:bodyPr>
            <a:lstStyle/>
            <a:p>
              <a:pPr algn="ctr">
                <a:spcBef>
                  <a:spcPts val="200"/>
                </a:spcBef>
              </a:pPr>
              <a:r>
                <a:rPr lang="en-US" sz="1000" b="1" dirty="0">
                  <a:solidFill>
                    <a:srgbClr val="024EA4"/>
                  </a:solidFill>
                  <a:effectLst/>
                  <a:latin typeface="Raleway" pitchFamily="2" charset="0"/>
                  <a:ea typeface="Calibri" panose="020F0502020204030204" pitchFamily="34" charset="0"/>
                  <a:cs typeface="Times New Roman" panose="02020603050405020304" pitchFamily="18" charset="0"/>
                </a:rPr>
                <a:t>India</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FRS 9 Wholesale Lending ECL Model Development</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Retail Lending Credit Risk, ECL model modification and calibration</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FRS 9 ECL computation support</a:t>
              </a:r>
              <a:endParaRPr lang="en-GB" sz="1000" dirty="0">
                <a:solidFill>
                  <a:srgbClr val="024EA4"/>
                </a:solidFill>
                <a:effectLst/>
                <a:latin typeface="Raleway" pitchFamily="2" charset="0"/>
                <a:ea typeface="Calibri" panose="020F0502020204030204" pitchFamily="34" charset="0"/>
                <a:cs typeface="Times New Roman" panose="02020603050405020304" pitchFamily="18" charset="0"/>
              </a:endParaRPr>
            </a:p>
          </p:txBody>
        </p:sp>
      </p:grpSp>
      <p:pic>
        <p:nvPicPr>
          <p:cNvPr id="60" name="Picture 59" descr="NBQ | LinkedIn">
            <a:extLst>
              <a:ext uri="{FF2B5EF4-FFF2-40B4-BE49-F238E27FC236}">
                <a16:creationId xmlns:a16="http://schemas.microsoft.com/office/drawing/2014/main" id="{4D76EB98-DBF0-FCE7-1711-1E20C92C9C4D}"/>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56224" y="1070631"/>
            <a:ext cx="939707" cy="627220"/>
          </a:xfrm>
          <a:prstGeom prst="rect">
            <a:avLst/>
          </a:prstGeom>
          <a:noFill/>
          <a:ln>
            <a:noFill/>
          </a:ln>
        </p:spPr>
      </p:pic>
      <p:grpSp>
        <p:nvGrpSpPr>
          <p:cNvPr id="61" name="Group 60">
            <a:extLst>
              <a:ext uri="{FF2B5EF4-FFF2-40B4-BE49-F238E27FC236}">
                <a16:creationId xmlns:a16="http://schemas.microsoft.com/office/drawing/2014/main" id="{66162F87-433D-E510-8197-236A0836CD69}"/>
              </a:ext>
            </a:extLst>
          </p:cNvPr>
          <p:cNvGrpSpPr/>
          <p:nvPr/>
        </p:nvGrpSpPr>
        <p:grpSpPr>
          <a:xfrm>
            <a:off x="6121441" y="1662740"/>
            <a:ext cx="2651788" cy="2183432"/>
            <a:chOff x="2320324" y="3280735"/>
            <a:chExt cx="1984248" cy="2761858"/>
          </a:xfrm>
        </p:grpSpPr>
        <p:sp>
          <p:nvSpPr>
            <p:cNvPr id="62" name="Rectangle: Rounded Corners 40">
              <a:extLst>
                <a:ext uri="{FF2B5EF4-FFF2-40B4-BE49-F238E27FC236}">
                  <a16:creationId xmlns:a16="http://schemas.microsoft.com/office/drawing/2014/main" id="{7443F201-1421-9350-0518-EDC00CD60F70}"/>
                </a:ext>
              </a:extLst>
            </p:cNvPr>
            <p:cNvSpPr/>
            <p:nvPr/>
          </p:nvSpPr>
          <p:spPr>
            <a:xfrm>
              <a:off x="2550817" y="3280735"/>
              <a:ext cx="1523262" cy="365761"/>
            </a:xfrm>
            <a:prstGeom prst="roundRect">
              <a:avLst/>
            </a:prstGeom>
            <a:solidFill>
              <a:srgbClr val="8183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Raleway" pitchFamily="2" charset="0"/>
                </a:rPr>
                <a:t>National Bank of Umm Al </a:t>
              </a:r>
              <a:r>
                <a:rPr lang="en-US" sz="1000" b="1" dirty="0" err="1">
                  <a:latin typeface="Raleway" pitchFamily="2" charset="0"/>
                </a:rPr>
                <a:t>Qaiwain</a:t>
              </a:r>
              <a:r>
                <a:rPr lang="en-US" sz="1000" b="1" dirty="0">
                  <a:latin typeface="Raleway" pitchFamily="2" charset="0"/>
                </a:rPr>
                <a:t> </a:t>
              </a:r>
            </a:p>
          </p:txBody>
        </p:sp>
        <p:sp>
          <p:nvSpPr>
            <p:cNvPr id="63" name="TextBox 38">
              <a:extLst>
                <a:ext uri="{FF2B5EF4-FFF2-40B4-BE49-F238E27FC236}">
                  <a16:creationId xmlns:a16="http://schemas.microsoft.com/office/drawing/2014/main" id="{3503415F-9F01-4F06-BB30-4E799286D56A}"/>
                </a:ext>
              </a:extLst>
            </p:cNvPr>
            <p:cNvSpPr txBox="1"/>
            <p:nvPr/>
          </p:nvSpPr>
          <p:spPr>
            <a:xfrm>
              <a:off x="2320324" y="3693232"/>
              <a:ext cx="1984248" cy="2349361"/>
            </a:xfrm>
            <a:prstGeom prst="rect">
              <a:avLst/>
            </a:prstGeom>
            <a:noFill/>
          </p:spPr>
          <p:txBody>
            <a:bodyPr wrap="square">
              <a:spAutoFit/>
            </a:bodyPr>
            <a:lstStyle/>
            <a:p>
              <a:pPr algn="ctr">
                <a:spcBef>
                  <a:spcPts val="200"/>
                </a:spcBef>
              </a:pPr>
              <a:r>
                <a:rPr lang="en-US" sz="1000" b="1" dirty="0">
                  <a:solidFill>
                    <a:srgbClr val="024EA4"/>
                  </a:solidFill>
                  <a:effectLst/>
                  <a:latin typeface="Raleway" pitchFamily="2" charset="0"/>
                  <a:ea typeface="Calibri" panose="020F0502020204030204" pitchFamily="34" charset="0"/>
                  <a:cs typeface="Times New Roman" panose="02020603050405020304" pitchFamily="18" charset="0"/>
                </a:rPr>
                <a:t>UAE</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IFRS 9 Corporate, Retail &amp; Cards exhaustive Model review. </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Model recommendation and development. </a:t>
              </a:r>
            </a:p>
            <a:p>
              <a:pPr marL="285750" indent="-285750">
                <a:spcBef>
                  <a:spcPts val="200"/>
                </a:spcBef>
                <a:buFont typeface="Wingdings" panose="05000000000000000000" pitchFamily="2" charset="2"/>
                <a:buChar char="§"/>
              </a:pPr>
              <a:r>
                <a:rPr lang="en-US" sz="1000" dirty="0">
                  <a:solidFill>
                    <a:srgbClr val="024EA4"/>
                  </a:solidFill>
                  <a:latin typeface="Raleway" pitchFamily="2" charset="0"/>
                  <a:ea typeface="Calibri" panose="020F0502020204030204" pitchFamily="34" charset="0"/>
                  <a:cs typeface="Times New Roman" panose="02020603050405020304" pitchFamily="18" charset="0"/>
                </a:rPr>
                <a:t>Stress Testing review as per CBUAE guideline for 2022-23.</a:t>
              </a:r>
            </a:p>
            <a:p>
              <a:pPr marL="285750" indent="-285750">
                <a:spcBef>
                  <a:spcPts val="200"/>
                </a:spcBef>
                <a:buFont typeface="Wingdings" panose="05000000000000000000" pitchFamily="2" charset="2"/>
                <a:buChar char="§"/>
              </a:pPr>
              <a:r>
                <a:rPr lang="en-US" sz="1000" dirty="0">
                  <a:solidFill>
                    <a:srgbClr val="024EA4"/>
                  </a:solidFill>
                  <a:effectLst/>
                  <a:latin typeface="Raleway" pitchFamily="2" charset="0"/>
                  <a:ea typeface="Calibri" panose="020F0502020204030204" pitchFamily="34" charset="0"/>
                  <a:cs typeface="Times New Roman" panose="02020603050405020304" pitchFamily="18" charset="0"/>
                </a:rPr>
                <a:t>Recommendation and fact findings to the management to enable drawing up of the future roadmap. </a:t>
              </a:r>
              <a:endParaRPr lang="en-GB" sz="1000" dirty="0">
                <a:solidFill>
                  <a:srgbClr val="024EA4"/>
                </a:solidFill>
                <a:effectLst/>
                <a:latin typeface="Raleway" pitchFamily="2" charset="0"/>
                <a:ea typeface="Calibri" panose="020F0502020204030204" pitchFamily="34" charset="0"/>
                <a:cs typeface="Times New Roman" panose="02020603050405020304" pitchFamily="18" charset="0"/>
              </a:endParaRPr>
            </a:p>
          </p:txBody>
        </p:sp>
      </p:grpSp>
      <p:sp>
        <p:nvSpPr>
          <p:cNvPr id="2" name="TextBox 42">
            <a:extLst>
              <a:ext uri="{FF2B5EF4-FFF2-40B4-BE49-F238E27FC236}">
                <a16:creationId xmlns:a16="http://schemas.microsoft.com/office/drawing/2014/main" id="{4517E83E-E0DD-0ACE-EA1D-6E1C3A3DCDEA}"/>
              </a:ext>
            </a:extLst>
          </p:cNvPr>
          <p:cNvSpPr txBox="1"/>
          <p:nvPr/>
        </p:nvSpPr>
        <p:spPr>
          <a:xfrm>
            <a:off x="306122" y="2009814"/>
            <a:ext cx="2589950" cy="2067233"/>
          </a:xfrm>
          <a:prstGeom prst="rect">
            <a:avLst/>
          </a:prstGeom>
          <a:noFill/>
        </p:spPr>
        <p:txBody>
          <a:bodyPr wrap="square">
            <a:spAutoFit/>
          </a:bodyPr>
          <a:lstStyle/>
          <a:p>
            <a:pPr algn="ctr">
              <a:spcBef>
                <a:spcPts val="200"/>
              </a:spcBef>
            </a:pPr>
            <a:r>
              <a:rPr lang="sv-SE" sz="1000" b="1" dirty="0">
                <a:solidFill>
                  <a:schemeClr val="bg1">
                    <a:lumMod val="50000"/>
                  </a:schemeClr>
                </a:solidFill>
                <a:latin typeface="Raleway" pitchFamily="2" charset="0"/>
              </a:rPr>
              <a:t>Jordan</a:t>
            </a:r>
          </a:p>
          <a:p>
            <a:pPr marL="171450" indent="-171450">
              <a:spcBef>
                <a:spcPts val="200"/>
              </a:spcBef>
              <a:buFont typeface="Wingdings" panose="05000000000000000000" pitchFamily="2" charset="2"/>
              <a:buChar char="§"/>
            </a:pPr>
            <a:r>
              <a:rPr lang="en-US" sz="1000" dirty="0" err="1">
                <a:solidFill>
                  <a:schemeClr val="bg1">
                    <a:lumMod val="50000"/>
                  </a:schemeClr>
                </a:solidFill>
                <a:latin typeface="Raleway" pitchFamily="2" charset="0"/>
                <a:ea typeface="Calibri" panose="020F0502020204030204" pitchFamily="34" charset="0"/>
                <a:cs typeface="Times New Roman" panose="02020603050405020304" pitchFamily="18" charset="0"/>
              </a:rPr>
              <a:t>Devt</a:t>
            </a:r>
            <a:r>
              <a:rPr lang="en-US" sz="1000" dirty="0">
                <a:solidFill>
                  <a:schemeClr val="bg1">
                    <a:lumMod val="50000"/>
                  </a:schemeClr>
                </a:solidFill>
                <a:latin typeface="Raleway" pitchFamily="2" charset="0"/>
                <a:ea typeface="Calibri" panose="020F0502020204030204" pitchFamily="34" charset="0"/>
                <a:cs typeface="Times New Roman" panose="02020603050405020304" pitchFamily="18" charset="0"/>
              </a:rPr>
              <a:t>. of Market Risk &amp; FTP Framework including implementation of Market Risk System</a:t>
            </a:r>
          </a:p>
          <a:p>
            <a:pPr marL="171450" indent="-171450">
              <a:spcBef>
                <a:spcPts val="200"/>
              </a:spcBef>
              <a:buFont typeface="Wingdings" panose="05000000000000000000" pitchFamily="2" charset="2"/>
              <a:buChar char="§"/>
            </a:pPr>
            <a:r>
              <a:rPr lang="en-US" sz="1000" dirty="0">
                <a:solidFill>
                  <a:schemeClr val="bg1">
                    <a:lumMod val="50000"/>
                  </a:schemeClr>
                </a:solidFill>
                <a:latin typeface="Raleway" pitchFamily="2" charset="0"/>
                <a:ea typeface="Calibri" panose="020F0502020204030204" pitchFamily="34" charset="0"/>
                <a:cs typeface="Times New Roman" panose="02020603050405020304" pitchFamily="18" charset="0"/>
              </a:rPr>
              <a:t>Implementation of Credit Risk Rating System for all Rating Models and Scorecards</a:t>
            </a:r>
          </a:p>
          <a:p>
            <a:pPr marL="171450" indent="-171450">
              <a:spcBef>
                <a:spcPts val="200"/>
              </a:spcBef>
              <a:buFont typeface="Wingdings" panose="05000000000000000000" pitchFamily="2" charset="2"/>
              <a:buChar char="§"/>
            </a:pPr>
            <a:r>
              <a:rPr lang="en-US" sz="1000" dirty="0">
                <a:solidFill>
                  <a:schemeClr val="bg1">
                    <a:lumMod val="50000"/>
                  </a:schemeClr>
                </a:solidFill>
                <a:latin typeface="Raleway" pitchFamily="2" charset="0"/>
                <a:ea typeface="Calibri" panose="020F0502020204030204" pitchFamily="34" charset="0"/>
                <a:cs typeface="Times New Roman" panose="02020603050405020304" pitchFamily="18" charset="0"/>
              </a:rPr>
              <a:t>Validation of Risk Rating Model &amp; Specialized lending Scorecards</a:t>
            </a:r>
          </a:p>
          <a:p>
            <a:pPr marL="171450" indent="-171450">
              <a:spcBef>
                <a:spcPts val="200"/>
              </a:spcBef>
              <a:buFont typeface="Wingdings" panose="05000000000000000000" pitchFamily="2" charset="2"/>
              <a:buChar char="§"/>
            </a:pPr>
            <a:r>
              <a:rPr lang="en-US" sz="1000" b="1" dirty="0">
                <a:solidFill>
                  <a:schemeClr val="bg1">
                    <a:lumMod val="50000"/>
                  </a:schemeClr>
                </a:solidFill>
                <a:latin typeface="Raleway" pitchFamily="2" charset="0"/>
                <a:ea typeface="Calibri" panose="020F0502020204030204" pitchFamily="34" charset="0"/>
                <a:cs typeface="Times New Roman" panose="02020603050405020304" pitchFamily="18" charset="0"/>
              </a:rPr>
              <a:t>New Mandate </a:t>
            </a:r>
            <a:r>
              <a:rPr lang="en-US" sz="1000" dirty="0">
                <a:solidFill>
                  <a:schemeClr val="bg1">
                    <a:lumMod val="50000"/>
                  </a:schemeClr>
                </a:solidFill>
                <a:latin typeface="Raleway" pitchFamily="2" charset="0"/>
                <a:ea typeface="Calibri" panose="020F0502020204030204" pitchFamily="34" charset="0"/>
                <a:cs typeface="Times New Roman" panose="02020603050405020304" pitchFamily="18" charset="0"/>
              </a:rPr>
              <a:t>: System for ALM, CAP, FTP, RAROC, ICAAP &amp; Stress Testing</a:t>
            </a:r>
          </a:p>
          <a:p>
            <a:pPr>
              <a:spcBef>
                <a:spcPts val="200"/>
              </a:spcBef>
            </a:pPr>
            <a:endParaRPr lang="en-GB" sz="1000" dirty="0">
              <a:solidFill>
                <a:schemeClr val="bg1">
                  <a:lumMod val="50000"/>
                </a:schemeClr>
              </a:solidFill>
              <a:effectLst/>
              <a:latin typeface="Raleway" pitchFamily="2" charset="0"/>
              <a:ea typeface="Calibri" panose="020F0502020204030204" pitchFamily="34" charset="0"/>
              <a:cs typeface="Times New Roman" panose="02020603050405020304" pitchFamily="18" charset="0"/>
            </a:endParaRPr>
          </a:p>
        </p:txBody>
      </p:sp>
      <p:sp>
        <p:nvSpPr>
          <p:cNvPr id="3" name="Rectangle: Rounded Corners 43">
            <a:extLst>
              <a:ext uri="{FF2B5EF4-FFF2-40B4-BE49-F238E27FC236}">
                <a16:creationId xmlns:a16="http://schemas.microsoft.com/office/drawing/2014/main" id="{26F83A40-8473-5B61-0179-DC33B66BB1A1}"/>
              </a:ext>
            </a:extLst>
          </p:cNvPr>
          <p:cNvSpPr/>
          <p:nvPr/>
        </p:nvSpPr>
        <p:spPr>
          <a:xfrm>
            <a:off x="536115" y="1620024"/>
            <a:ext cx="1988245" cy="368822"/>
          </a:xfrm>
          <a:prstGeom prst="round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latin typeface="Raleway" pitchFamily="2" charset="0"/>
              </a:rPr>
              <a:t>Jordan Commercial Bank</a:t>
            </a:r>
          </a:p>
        </p:txBody>
      </p:sp>
      <p:pic>
        <p:nvPicPr>
          <p:cNvPr id="4" name="Picture 18">
            <a:extLst>
              <a:ext uri="{FF2B5EF4-FFF2-40B4-BE49-F238E27FC236}">
                <a16:creationId xmlns:a16="http://schemas.microsoft.com/office/drawing/2014/main" id="{B2CB35AA-E8F3-154C-51A3-237F5ADB6F26}"/>
              </a:ext>
            </a:extLst>
          </p:cNvPr>
          <p:cNvPicPr>
            <a:picLocks noChangeAspect="1"/>
          </p:cNvPicPr>
          <p:nvPr/>
        </p:nvPicPr>
        <p:blipFill rotWithShape="1">
          <a:blip r:embed="rId8" cstate="print"/>
          <a:srcRect t="36734" b="39798"/>
          <a:stretch>
            <a:fillRect/>
          </a:stretch>
        </p:blipFill>
        <p:spPr>
          <a:xfrm>
            <a:off x="764559" y="1140119"/>
            <a:ext cx="1504716" cy="46603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5">
            <a:extLst>
              <a:ext uri="{FF2B5EF4-FFF2-40B4-BE49-F238E27FC236}">
                <a16:creationId xmlns:a16="http://schemas.microsoft.com/office/drawing/2014/main" id="{3743AEB5-C8EC-4D28-B731-20EA1BDA8D90}"/>
              </a:ext>
            </a:extLst>
          </p:cNvPr>
          <p:cNvSpPr/>
          <p:nvPr/>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5" name="Picture 6">
            <a:extLst>
              <a:ext uri="{FF2B5EF4-FFF2-40B4-BE49-F238E27FC236}">
                <a16:creationId xmlns:a16="http://schemas.microsoft.com/office/drawing/2014/main" id="{BFB1CB4E-B0CA-4892-927D-84E3172B777B}"/>
              </a:ext>
            </a:extLst>
          </p:cNvPr>
          <p:cNvPicPr>
            <a:picLocks noChangeAspect="1"/>
          </p:cNvPicPr>
          <p:nvPr/>
        </p:nvPicPr>
        <p:blipFill rotWithShape="1">
          <a:blip r:embed="rId3"/>
          <a:srcRect t="22084" b="36867"/>
          <a:stretch>
            <a:fillRect/>
          </a:stretch>
        </p:blipFill>
        <p:spPr>
          <a:xfrm>
            <a:off x="28575" y="6355908"/>
            <a:ext cx="1492186" cy="285798"/>
          </a:xfrm>
          <a:prstGeom prst="rect">
            <a:avLst/>
          </a:prstGeom>
          <a:effectLst/>
        </p:spPr>
      </p:pic>
      <p:pic>
        <p:nvPicPr>
          <p:cNvPr id="86" name="Picture 7">
            <a:extLst>
              <a:ext uri="{FF2B5EF4-FFF2-40B4-BE49-F238E27FC236}">
                <a16:creationId xmlns:a16="http://schemas.microsoft.com/office/drawing/2014/main" id="{52E6A09C-790D-4656-84CE-6203A2BD7D1A}"/>
              </a:ext>
            </a:extLst>
          </p:cNvPr>
          <p:cNvPicPr>
            <a:picLocks noChangeAspect="1"/>
          </p:cNvPicPr>
          <p:nvPr/>
        </p:nvPicPr>
        <p:blipFill rotWithShape="1">
          <a:blip r:embed="rId4" cstate="print"/>
          <a:srcRect l="16638" t="17440" r="19607" b="5712"/>
          <a:stretch>
            <a:fillRect/>
          </a:stretch>
        </p:blipFill>
        <p:spPr>
          <a:xfrm>
            <a:off x="11544839" y="6126715"/>
            <a:ext cx="453493" cy="514991"/>
          </a:xfrm>
          <a:prstGeom prst="rect">
            <a:avLst/>
          </a:prstGeom>
        </p:spPr>
      </p:pic>
      <p:grpSp>
        <p:nvGrpSpPr>
          <p:cNvPr id="7" name="Group 6">
            <a:extLst>
              <a:ext uri="{FF2B5EF4-FFF2-40B4-BE49-F238E27FC236}">
                <a16:creationId xmlns:a16="http://schemas.microsoft.com/office/drawing/2014/main" id="{22AA7C86-48B3-412E-87DA-ACB40432DDC7}"/>
              </a:ext>
            </a:extLst>
          </p:cNvPr>
          <p:cNvGrpSpPr/>
          <p:nvPr/>
        </p:nvGrpSpPr>
        <p:grpSpPr>
          <a:xfrm>
            <a:off x="246940" y="1358523"/>
            <a:ext cx="2926080" cy="3854986"/>
            <a:chOff x="246940" y="1135003"/>
            <a:chExt cx="2926080" cy="3854986"/>
          </a:xfrm>
        </p:grpSpPr>
        <p:sp>
          <p:nvSpPr>
            <p:cNvPr id="62" name="Rectangle 61">
              <a:extLst>
                <a:ext uri="{FF2B5EF4-FFF2-40B4-BE49-F238E27FC236}">
                  <a16:creationId xmlns:a16="http://schemas.microsoft.com/office/drawing/2014/main" id="{259A3EE1-068C-481E-BFAD-6A238B4CDC40}"/>
                </a:ext>
              </a:extLst>
            </p:cNvPr>
            <p:cNvSpPr/>
            <p:nvPr/>
          </p:nvSpPr>
          <p:spPr>
            <a:xfrm>
              <a:off x="246940" y="3174107"/>
              <a:ext cx="2926080" cy="1815882"/>
            </a:xfrm>
            <a:prstGeom prst="rect">
              <a:avLst/>
            </a:prstGeom>
          </p:spPr>
          <p:txBody>
            <a:bodyPr wrap="square">
              <a:spAutoFit/>
            </a:bodyPr>
            <a:lstStyle/>
            <a:p>
              <a:pPr algn="ctr"/>
              <a:r>
                <a:rPr lang="en-US" sz="1600" b="1" dirty="0">
                  <a:solidFill>
                    <a:schemeClr val="tx1">
                      <a:lumMod val="75000"/>
                      <a:lumOff val="25000"/>
                    </a:schemeClr>
                  </a:solidFill>
                  <a:latin typeface="Raleway" pitchFamily="2" charset="0"/>
                  <a:ea typeface="Lato" panose="020F0502020204030203" pitchFamily="34" charset="0"/>
                  <a:cs typeface="Lato" panose="020F0502020204030203" pitchFamily="34" charset="0"/>
                </a:rPr>
                <a:t>‘RiskCube’, an Integrated specialized platform enabling Strategic Functions, Decision</a:t>
              </a:r>
            </a:p>
            <a:p>
              <a:pPr algn="ctr"/>
              <a:r>
                <a:rPr lang="en-US" sz="1600" b="1" dirty="0">
                  <a:solidFill>
                    <a:schemeClr val="tx1">
                      <a:lumMod val="75000"/>
                      <a:lumOff val="25000"/>
                    </a:schemeClr>
                  </a:solidFill>
                  <a:latin typeface="Raleway" pitchFamily="2" charset="0"/>
                  <a:ea typeface="Lato" panose="020F0502020204030203" pitchFamily="34" charset="0"/>
                  <a:cs typeface="Lato" panose="020F0502020204030203" pitchFamily="34" charset="0"/>
                </a:rPr>
                <a:t>Support, Risk Management &amp; Compliance for Banks &amp; Financial Institutions</a:t>
              </a:r>
            </a:p>
          </p:txBody>
        </p:sp>
        <p:grpSp>
          <p:nvGrpSpPr>
            <p:cNvPr id="6" name="Group 5">
              <a:extLst>
                <a:ext uri="{FF2B5EF4-FFF2-40B4-BE49-F238E27FC236}">
                  <a16:creationId xmlns:a16="http://schemas.microsoft.com/office/drawing/2014/main" id="{783C5F5A-AC3F-49D3-A9FD-F240734FB9D4}"/>
                </a:ext>
              </a:extLst>
            </p:cNvPr>
            <p:cNvGrpSpPr/>
            <p:nvPr/>
          </p:nvGrpSpPr>
          <p:grpSpPr>
            <a:xfrm>
              <a:off x="885912" y="1135003"/>
              <a:ext cx="1648136" cy="1856393"/>
              <a:chOff x="1105224" y="1629050"/>
              <a:chExt cx="1209513" cy="1362346"/>
            </a:xfrm>
          </p:grpSpPr>
          <p:sp>
            <p:nvSpPr>
              <p:cNvPr id="63" name="Freeform 5">
                <a:extLst>
                  <a:ext uri="{FF2B5EF4-FFF2-40B4-BE49-F238E27FC236}">
                    <a16:creationId xmlns:a16="http://schemas.microsoft.com/office/drawing/2014/main" id="{BE86C518-B4F1-4014-9B0A-1D32B12C1892}"/>
                  </a:ext>
                </a:extLst>
              </p:cNvPr>
              <p:cNvSpPr>
                <a:spLocks noEditPoints="1"/>
              </p:cNvSpPr>
              <p:nvPr/>
            </p:nvSpPr>
            <p:spPr bwMode="auto">
              <a:xfrm>
                <a:off x="1105224" y="1629050"/>
                <a:ext cx="1209513" cy="1362346"/>
              </a:xfrm>
              <a:custGeom>
                <a:avLst/>
                <a:gdLst>
                  <a:gd name="T0" fmla="*/ 1644 w 3288"/>
                  <a:gd name="T1" fmla="*/ 3701 h 3701"/>
                  <a:gd name="T2" fmla="*/ 1465 w 3288"/>
                  <a:gd name="T3" fmla="*/ 3654 h 3701"/>
                  <a:gd name="T4" fmla="*/ 178 w 3288"/>
                  <a:gd name="T5" fmla="*/ 2911 h 3701"/>
                  <a:gd name="T6" fmla="*/ 0 w 3288"/>
                  <a:gd name="T7" fmla="*/ 2601 h 3701"/>
                  <a:gd name="T8" fmla="*/ 0 w 3288"/>
                  <a:gd name="T9" fmla="*/ 1116 h 3701"/>
                  <a:gd name="T10" fmla="*/ 178 w 3288"/>
                  <a:gd name="T11" fmla="*/ 806 h 3701"/>
                  <a:gd name="T12" fmla="*/ 1465 w 3288"/>
                  <a:gd name="T13" fmla="*/ 63 h 3701"/>
                  <a:gd name="T14" fmla="*/ 1823 w 3288"/>
                  <a:gd name="T15" fmla="*/ 63 h 3701"/>
                  <a:gd name="T16" fmla="*/ 3109 w 3288"/>
                  <a:gd name="T17" fmla="*/ 806 h 3701"/>
                  <a:gd name="T18" fmla="*/ 3288 w 3288"/>
                  <a:gd name="T19" fmla="*/ 1116 h 3701"/>
                  <a:gd name="T20" fmla="*/ 3288 w 3288"/>
                  <a:gd name="T21" fmla="*/ 2601 h 3701"/>
                  <a:gd name="T22" fmla="*/ 3109 w 3288"/>
                  <a:gd name="T23" fmla="*/ 2911 h 3701"/>
                  <a:gd name="T24" fmla="*/ 1823 w 3288"/>
                  <a:gd name="T25" fmla="*/ 3654 h 3701"/>
                  <a:gd name="T26" fmla="*/ 1644 w 3288"/>
                  <a:gd name="T27" fmla="*/ 3701 h 3701"/>
                  <a:gd name="T28" fmla="*/ 1644 w 3288"/>
                  <a:gd name="T29" fmla="*/ 125 h 3701"/>
                  <a:gd name="T30" fmla="*/ 1520 w 3288"/>
                  <a:gd name="T31" fmla="*/ 159 h 3701"/>
                  <a:gd name="T32" fmla="*/ 233 w 3288"/>
                  <a:gd name="T33" fmla="*/ 901 h 3701"/>
                  <a:gd name="T34" fmla="*/ 110 w 3288"/>
                  <a:gd name="T35" fmla="*/ 1116 h 3701"/>
                  <a:gd name="T36" fmla="*/ 110 w 3288"/>
                  <a:gd name="T37" fmla="*/ 2601 h 3701"/>
                  <a:gd name="T38" fmla="*/ 233 w 3288"/>
                  <a:gd name="T39" fmla="*/ 2816 h 3701"/>
                  <a:gd name="T40" fmla="*/ 1520 w 3288"/>
                  <a:gd name="T41" fmla="*/ 3558 h 3701"/>
                  <a:gd name="T42" fmla="*/ 1767 w 3288"/>
                  <a:gd name="T43" fmla="*/ 3558 h 3701"/>
                  <a:gd name="T44" fmla="*/ 3054 w 3288"/>
                  <a:gd name="T45" fmla="*/ 2816 h 3701"/>
                  <a:gd name="T46" fmla="*/ 3178 w 3288"/>
                  <a:gd name="T47" fmla="*/ 2601 h 3701"/>
                  <a:gd name="T48" fmla="*/ 3178 w 3288"/>
                  <a:gd name="T49" fmla="*/ 1116 h 3701"/>
                  <a:gd name="T50" fmla="*/ 3054 w 3288"/>
                  <a:gd name="T51" fmla="*/ 901 h 3701"/>
                  <a:gd name="T52" fmla="*/ 1767 w 3288"/>
                  <a:gd name="T53" fmla="*/ 159 h 3701"/>
                  <a:gd name="T54" fmla="*/ 1644 w 3288"/>
                  <a:gd name="T55" fmla="*/ 125 h 3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88" h="3701">
                    <a:moveTo>
                      <a:pt x="1644" y="3701"/>
                    </a:moveTo>
                    <a:cubicBezTo>
                      <a:pt x="1582" y="3701"/>
                      <a:pt x="1520" y="3685"/>
                      <a:pt x="1465" y="3654"/>
                    </a:cubicBezTo>
                    <a:cubicBezTo>
                      <a:pt x="178" y="2911"/>
                      <a:pt x="178" y="2911"/>
                      <a:pt x="178" y="2911"/>
                    </a:cubicBezTo>
                    <a:cubicBezTo>
                      <a:pt x="68" y="2847"/>
                      <a:pt x="0" y="2729"/>
                      <a:pt x="0" y="2601"/>
                    </a:cubicBezTo>
                    <a:cubicBezTo>
                      <a:pt x="0" y="1116"/>
                      <a:pt x="0" y="1116"/>
                      <a:pt x="0" y="1116"/>
                    </a:cubicBezTo>
                    <a:cubicBezTo>
                      <a:pt x="0" y="988"/>
                      <a:pt x="68" y="870"/>
                      <a:pt x="178" y="806"/>
                    </a:cubicBezTo>
                    <a:cubicBezTo>
                      <a:pt x="1465" y="63"/>
                      <a:pt x="1465" y="63"/>
                      <a:pt x="1465" y="63"/>
                    </a:cubicBezTo>
                    <a:cubicBezTo>
                      <a:pt x="1575" y="0"/>
                      <a:pt x="1712" y="0"/>
                      <a:pt x="1823" y="63"/>
                    </a:cubicBezTo>
                    <a:cubicBezTo>
                      <a:pt x="3109" y="806"/>
                      <a:pt x="3109" y="806"/>
                      <a:pt x="3109" y="806"/>
                    </a:cubicBezTo>
                    <a:cubicBezTo>
                      <a:pt x="3219" y="870"/>
                      <a:pt x="3288" y="988"/>
                      <a:pt x="3288" y="1116"/>
                    </a:cubicBezTo>
                    <a:cubicBezTo>
                      <a:pt x="3288" y="2601"/>
                      <a:pt x="3288" y="2601"/>
                      <a:pt x="3288" y="2601"/>
                    </a:cubicBezTo>
                    <a:cubicBezTo>
                      <a:pt x="3288" y="2729"/>
                      <a:pt x="3219" y="2847"/>
                      <a:pt x="3109" y="2911"/>
                    </a:cubicBezTo>
                    <a:cubicBezTo>
                      <a:pt x="1823" y="3654"/>
                      <a:pt x="1823" y="3654"/>
                      <a:pt x="1823" y="3654"/>
                    </a:cubicBezTo>
                    <a:cubicBezTo>
                      <a:pt x="1767" y="3685"/>
                      <a:pt x="1706" y="3701"/>
                      <a:pt x="1644" y="3701"/>
                    </a:cubicBezTo>
                    <a:close/>
                    <a:moveTo>
                      <a:pt x="1644" y="125"/>
                    </a:moveTo>
                    <a:cubicBezTo>
                      <a:pt x="1601" y="125"/>
                      <a:pt x="1558" y="136"/>
                      <a:pt x="1520" y="159"/>
                    </a:cubicBezTo>
                    <a:cubicBezTo>
                      <a:pt x="233" y="901"/>
                      <a:pt x="233" y="901"/>
                      <a:pt x="233" y="901"/>
                    </a:cubicBezTo>
                    <a:cubicBezTo>
                      <a:pt x="157" y="945"/>
                      <a:pt x="110" y="1027"/>
                      <a:pt x="110" y="1116"/>
                    </a:cubicBezTo>
                    <a:cubicBezTo>
                      <a:pt x="110" y="2601"/>
                      <a:pt x="110" y="2601"/>
                      <a:pt x="110" y="2601"/>
                    </a:cubicBezTo>
                    <a:cubicBezTo>
                      <a:pt x="110" y="2689"/>
                      <a:pt x="157" y="2771"/>
                      <a:pt x="233" y="2816"/>
                    </a:cubicBezTo>
                    <a:cubicBezTo>
                      <a:pt x="1520" y="3558"/>
                      <a:pt x="1520" y="3558"/>
                      <a:pt x="1520" y="3558"/>
                    </a:cubicBezTo>
                    <a:cubicBezTo>
                      <a:pt x="1596" y="3602"/>
                      <a:pt x="1691" y="3602"/>
                      <a:pt x="1767" y="3558"/>
                    </a:cubicBezTo>
                    <a:cubicBezTo>
                      <a:pt x="3054" y="2816"/>
                      <a:pt x="3054" y="2816"/>
                      <a:pt x="3054" y="2816"/>
                    </a:cubicBezTo>
                    <a:cubicBezTo>
                      <a:pt x="3130" y="2771"/>
                      <a:pt x="3178" y="2689"/>
                      <a:pt x="3178" y="2601"/>
                    </a:cubicBezTo>
                    <a:cubicBezTo>
                      <a:pt x="3178" y="1116"/>
                      <a:pt x="3178" y="1116"/>
                      <a:pt x="3178" y="1116"/>
                    </a:cubicBezTo>
                    <a:cubicBezTo>
                      <a:pt x="3178" y="1027"/>
                      <a:pt x="3130" y="945"/>
                      <a:pt x="3054" y="901"/>
                    </a:cubicBezTo>
                    <a:cubicBezTo>
                      <a:pt x="1767" y="159"/>
                      <a:pt x="1767" y="159"/>
                      <a:pt x="1767" y="159"/>
                    </a:cubicBezTo>
                    <a:cubicBezTo>
                      <a:pt x="1729" y="136"/>
                      <a:pt x="1686" y="125"/>
                      <a:pt x="1644" y="1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latin typeface="Lato" panose="020F0502020204030203" pitchFamily="34" charset="0"/>
                  <a:ea typeface="Lato" panose="020F0502020204030203" pitchFamily="34" charset="0"/>
                  <a:cs typeface="Lato" panose="020F0502020204030203" pitchFamily="34" charset="0"/>
                </a:endParaRPr>
              </a:p>
            </p:txBody>
          </p:sp>
          <p:pic>
            <p:nvPicPr>
              <p:cNvPr id="115" name="Picture 114">
                <a:extLst>
                  <a:ext uri="{FF2B5EF4-FFF2-40B4-BE49-F238E27FC236}">
                    <a16:creationId xmlns:a16="http://schemas.microsoft.com/office/drawing/2014/main" id="{59F84DF0-7FA9-4830-9DB3-A9B8434462C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6638" t="17440" r="19607" b="5712"/>
              <a:stretch/>
            </p:blipFill>
            <p:spPr>
              <a:xfrm>
                <a:off x="1255862" y="1794521"/>
                <a:ext cx="908237" cy="1031403"/>
              </a:xfrm>
              <a:prstGeom prst="rect">
                <a:avLst/>
              </a:prstGeom>
            </p:spPr>
          </p:pic>
        </p:grpSp>
      </p:grpSp>
      <p:sp>
        <p:nvSpPr>
          <p:cNvPr id="57" name="Rectangle 56">
            <a:extLst>
              <a:ext uri="{FF2B5EF4-FFF2-40B4-BE49-F238E27FC236}">
                <a16:creationId xmlns:a16="http://schemas.microsoft.com/office/drawing/2014/main" id="{05512DC8-506B-4537-8CE7-B8A4075E9986}"/>
              </a:ext>
            </a:extLst>
          </p:cNvPr>
          <p:cNvSpPr/>
          <p:nvPr/>
        </p:nvSpPr>
        <p:spPr>
          <a:xfrm>
            <a:off x="1465802" y="375647"/>
            <a:ext cx="9260396" cy="523220"/>
          </a:xfrm>
          <a:prstGeom prst="rect">
            <a:avLst/>
          </a:prstGeom>
        </p:spPr>
        <p:txBody>
          <a:bodyPr wrap="square">
            <a:spAutoFit/>
          </a:bodyPr>
          <a:lstStyle/>
          <a:p>
            <a:pPr algn="ctr"/>
            <a:r>
              <a:rPr lang="en-US" sz="2800" b="1" dirty="0">
                <a:solidFill>
                  <a:srgbClr val="5791D8"/>
                </a:solidFill>
                <a:latin typeface="+mj-lt"/>
              </a:rPr>
              <a:t>DOMAIN – PRODUCTS - </a:t>
            </a:r>
            <a:r>
              <a:rPr lang="en-US" sz="2800" b="1" dirty="0">
                <a:latin typeface="+mj-lt"/>
              </a:rPr>
              <a:t>KNOWLEDGE</a:t>
            </a:r>
          </a:p>
        </p:txBody>
      </p:sp>
      <p:grpSp>
        <p:nvGrpSpPr>
          <p:cNvPr id="116" name="Group 115">
            <a:extLst>
              <a:ext uri="{FF2B5EF4-FFF2-40B4-BE49-F238E27FC236}">
                <a16:creationId xmlns:a16="http://schemas.microsoft.com/office/drawing/2014/main" id="{D102B105-F6F4-42EE-AD77-3A9A314B0C66}"/>
              </a:ext>
            </a:extLst>
          </p:cNvPr>
          <p:cNvGrpSpPr>
            <a:grpSpLocks noChangeAspect="1"/>
          </p:cNvGrpSpPr>
          <p:nvPr/>
        </p:nvGrpSpPr>
        <p:grpSpPr>
          <a:xfrm>
            <a:off x="5821680" y="908814"/>
            <a:ext cx="548640" cy="180224"/>
            <a:chOff x="5719027" y="4173124"/>
            <a:chExt cx="753947" cy="261258"/>
          </a:xfrm>
        </p:grpSpPr>
        <p:sp>
          <p:nvSpPr>
            <p:cNvPr id="117" name="Isosceles Triangle 116">
              <a:extLst>
                <a:ext uri="{FF2B5EF4-FFF2-40B4-BE49-F238E27FC236}">
                  <a16:creationId xmlns:a16="http://schemas.microsoft.com/office/drawing/2014/main" id="{9C6DD8CF-DC98-4619-B579-D2226D9A99EF}"/>
                </a:ext>
              </a:extLst>
            </p:cNvPr>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Isosceles Triangle 117">
              <a:extLst>
                <a:ext uri="{FF2B5EF4-FFF2-40B4-BE49-F238E27FC236}">
                  <a16:creationId xmlns:a16="http://schemas.microsoft.com/office/drawing/2014/main" id="{DFD0D15D-0102-4155-BF06-D1CBCBB229DE}"/>
                </a:ext>
              </a:extLst>
            </p:cNvPr>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Isosceles Triangle 118">
              <a:extLst>
                <a:ext uri="{FF2B5EF4-FFF2-40B4-BE49-F238E27FC236}">
                  <a16:creationId xmlns:a16="http://schemas.microsoft.com/office/drawing/2014/main" id="{7FC3E179-9FA2-4EE4-B2F0-19B71454A6FC}"/>
                </a:ext>
              </a:extLst>
            </p:cNvPr>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44EF07B1-A7B6-421A-B404-732209418982}"/>
              </a:ext>
            </a:extLst>
          </p:cNvPr>
          <p:cNvCxnSpPr>
            <a:cxnSpLocks/>
          </p:cNvCxnSpPr>
          <p:nvPr/>
        </p:nvCxnSpPr>
        <p:spPr>
          <a:xfrm>
            <a:off x="2534048" y="2286000"/>
            <a:ext cx="7930124"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E76D9ABF-4937-4B6D-95A8-95A9EDDBA020}"/>
              </a:ext>
            </a:extLst>
          </p:cNvPr>
          <p:cNvGrpSpPr/>
          <p:nvPr/>
        </p:nvGrpSpPr>
        <p:grpSpPr>
          <a:xfrm>
            <a:off x="3141200" y="2283619"/>
            <a:ext cx="2969096" cy="4106815"/>
            <a:chOff x="3141200" y="2283619"/>
            <a:chExt cx="2969096" cy="4106815"/>
          </a:xfrm>
        </p:grpSpPr>
        <p:grpSp>
          <p:nvGrpSpPr>
            <p:cNvPr id="2" name="Group 1">
              <a:extLst>
                <a:ext uri="{FF2B5EF4-FFF2-40B4-BE49-F238E27FC236}">
                  <a16:creationId xmlns:a16="http://schemas.microsoft.com/office/drawing/2014/main" id="{0A2A0BEC-B67A-4F6E-837D-D83183011340}"/>
                </a:ext>
              </a:extLst>
            </p:cNvPr>
            <p:cNvGrpSpPr/>
            <p:nvPr/>
          </p:nvGrpSpPr>
          <p:grpSpPr>
            <a:xfrm>
              <a:off x="3141200" y="2693713"/>
              <a:ext cx="2969096" cy="3696721"/>
              <a:chOff x="3533489" y="2226353"/>
              <a:chExt cx="2969096" cy="3696721"/>
            </a:xfrm>
          </p:grpSpPr>
          <p:sp>
            <p:nvSpPr>
              <p:cNvPr id="88" name="Rectangle 87">
                <a:extLst>
                  <a:ext uri="{FF2B5EF4-FFF2-40B4-BE49-F238E27FC236}">
                    <a16:creationId xmlns:a16="http://schemas.microsoft.com/office/drawing/2014/main" id="{6195866E-9BFA-4E42-86BF-8C8B1DA592C7}"/>
                  </a:ext>
                </a:extLst>
              </p:cNvPr>
              <p:cNvSpPr/>
              <p:nvPr/>
            </p:nvSpPr>
            <p:spPr>
              <a:xfrm>
                <a:off x="3533489" y="3676305"/>
                <a:ext cx="2969096" cy="2246769"/>
              </a:xfrm>
              <a:prstGeom prst="rect">
                <a:avLst/>
              </a:prstGeom>
            </p:spPr>
            <p:txBody>
              <a:bodyPr wrap="square">
                <a:spAutoFit/>
              </a:bodyPr>
              <a:lstStyle/>
              <a:p>
                <a:pPr algn="ctr"/>
                <a:r>
                  <a:rPr lang="en-US" sz="1400" dirty="0">
                    <a:solidFill>
                      <a:schemeClr val="tx1">
                        <a:lumMod val="75000"/>
                        <a:lumOff val="25000"/>
                      </a:schemeClr>
                    </a:solidFill>
                    <a:latin typeface="Raleway" pitchFamily="2" charset="0"/>
                    <a:ea typeface="Lato" panose="020F0502020204030203" pitchFamily="34" charset="0"/>
                    <a:cs typeface="Lato" panose="020F0502020204030203" pitchFamily="34" charset="0"/>
                  </a:rPr>
                  <a:t>IFRS9 ECL, Capital Calculation, Profit gap risk &amp; Liquidity management, ALM &amp; Balance Sheet Management, Capital Allocation &amp; Reporting System including Stress Testing.</a:t>
                </a:r>
              </a:p>
              <a:p>
                <a:pPr algn="ctr"/>
                <a:r>
                  <a:rPr lang="en-US" sz="1400" dirty="0">
                    <a:solidFill>
                      <a:schemeClr val="tx1">
                        <a:lumMod val="75000"/>
                        <a:lumOff val="25000"/>
                      </a:schemeClr>
                    </a:solidFill>
                    <a:latin typeface="Raleway" pitchFamily="2" charset="0"/>
                    <a:ea typeface="Lato" panose="020F0502020204030203" pitchFamily="34" charset="0"/>
                    <a:cs typeface="Lato" panose="020F0502020204030203" pitchFamily="34" charset="0"/>
                  </a:rPr>
                  <a:t>Early Warning System (EWS), Credit Modeling &amp; hosting platform, Integrated Banking Data Model compliant to BCBS 239</a:t>
                </a:r>
              </a:p>
            </p:txBody>
          </p:sp>
          <p:grpSp>
            <p:nvGrpSpPr>
              <p:cNvPr id="89" name="Group 88">
                <a:extLst>
                  <a:ext uri="{FF2B5EF4-FFF2-40B4-BE49-F238E27FC236}">
                    <a16:creationId xmlns:a16="http://schemas.microsoft.com/office/drawing/2014/main" id="{6DB2757F-4BF9-4CEF-93A7-9D7EE1518181}"/>
                  </a:ext>
                </a:extLst>
              </p:cNvPr>
              <p:cNvGrpSpPr/>
              <p:nvPr/>
            </p:nvGrpSpPr>
            <p:grpSpPr>
              <a:xfrm>
                <a:off x="4415577" y="2226353"/>
                <a:ext cx="1209513" cy="1362346"/>
                <a:chOff x="3022834" y="1539242"/>
                <a:chExt cx="1209513" cy="1362346"/>
              </a:xfrm>
            </p:grpSpPr>
            <p:grpSp>
              <p:nvGrpSpPr>
                <p:cNvPr id="90" name="Group 89">
                  <a:extLst>
                    <a:ext uri="{FF2B5EF4-FFF2-40B4-BE49-F238E27FC236}">
                      <a16:creationId xmlns:a16="http://schemas.microsoft.com/office/drawing/2014/main" id="{C35FA155-C995-4AC8-99D5-1B0B5D8A51C5}"/>
                    </a:ext>
                  </a:extLst>
                </p:cNvPr>
                <p:cNvGrpSpPr/>
                <p:nvPr/>
              </p:nvGrpSpPr>
              <p:grpSpPr>
                <a:xfrm>
                  <a:off x="3022834" y="1539242"/>
                  <a:ext cx="1209513" cy="1362346"/>
                  <a:chOff x="1415622" y="3080344"/>
                  <a:chExt cx="744654" cy="838748"/>
                </a:xfrm>
              </p:grpSpPr>
              <p:sp>
                <p:nvSpPr>
                  <p:cNvPr id="92" name="Freeform 5">
                    <a:extLst>
                      <a:ext uri="{FF2B5EF4-FFF2-40B4-BE49-F238E27FC236}">
                        <a16:creationId xmlns:a16="http://schemas.microsoft.com/office/drawing/2014/main" id="{26FB8871-E45E-4922-8811-07860FC142FB}"/>
                      </a:ext>
                    </a:extLst>
                  </p:cNvPr>
                  <p:cNvSpPr>
                    <a:spLocks noEditPoints="1"/>
                  </p:cNvSpPr>
                  <p:nvPr/>
                </p:nvSpPr>
                <p:spPr bwMode="auto">
                  <a:xfrm>
                    <a:off x="1415622" y="3080344"/>
                    <a:ext cx="744654" cy="838748"/>
                  </a:xfrm>
                  <a:custGeom>
                    <a:avLst/>
                    <a:gdLst>
                      <a:gd name="T0" fmla="*/ 1644 w 3288"/>
                      <a:gd name="T1" fmla="*/ 3701 h 3701"/>
                      <a:gd name="T2" fmla="*/ 1465 w 3288"/>
                      <a:gd name="T3" fmla="*/ 3654 h 3701"/>
                      <a:gd name="T4" fmla="*/ 178 w 3288"/>
                      <a:gd name="T5" fmla="*/ 2911 h 3701"/>
                      <a:gd name="T6" fmla="*/ 0 w 3288"/>
                      <a:gd name="T7" fmla="*/ 2601 h 3701"/>
                      <a:gd name="T8" fmla="*/ 0 w 3288"/>
                      <a:gd name="T9" fmla="*/ 1116 h 3701"/>
                      <a:gd name="T10" fmla="*/ 178 w 3288"/>
                      <a:gd name="T11" fmla="*/ 806 h 3701"/>
                      <a:gd name="T12" fmla="*/ 1465 w 3288"/>
                      <a:gd name="T13" fmla="*/ 63 h 3701"/>
                      <a:gd name="T14" fmla="*/ 1823 w 3288"/>
                      <a:gd name="T15" fmla="*/ 63 h 3701"/>
                      <a:gd name="T16" fmla="*/ 3109 w 3288"/>
                      <a:gd name="T17" fmla="*/ 806 h 3701"/>
                      <a:gd name="T18" fmla="*/ 3288 w 3288"/>
                      <a:gd name="T19" fmla="*/ 1116 h 3701"/>
                      <a:gd name="T20" fmla="*/ 3288 w 3288"/>
                      <a:gd name="T21" fmla="*/ 2601 h 3701"/>
                      <a:gd name="T22" fmla="*/ 3109 w 3288"/>
                      <a:gd name="T23" fmla="*/ 2911 h 3701"/>
                      <a:gd name="T24" fmla="*/ 1823 w 3288"/>
                      <a:gd name="T25" fmla="*/ 3654 h 3701"/>
                      <a:gd name="T26" fmla="*/ 1644 w 3288"/>
                      <a:gd name="T27" fmla="*/ 3701 h 3701"/>
                      <a:gd name="T28" fmla="*/ 1644 w 3288"/>
                      <a:gd name="T29" fmla="*/ 125 h 3701"/>
                      <a:gd name="T30" fmla="*/ 1520 w 3288"/>
                      <a:gd name="T31" fmla="*/ 159 h 3701"/>
                      <a:gd name="T32" fmla="*/ 233 w 3288"/>
                      <a:gd name="T33" fmla="*/ 901 h 3701"/>
                      <a:gd name="T34" fmla="*/ 110 w 3288"/>
                      <a:gd name="T35" fmla="*/ 1116 h 3701"/>
                      <a:gd name="T36" fmla="*/ 110 w 3288"/>
                      <a:gd name="T37" fmla="*/ 2601 h 3701"/>
                      <a:gd name="T38" fmla="*/ 233 w 3288"/>
                      <a:gd name="T39" fmla="*/ 2816 h 3701"/>
                      <a:gd name="T40" fmla="*/ 1520 w 3288"/>
                      <a:gd name="T41" fmla="*/ 3558 h 3701"/>
                      <a:gd name="T42" fmla="*/ 1767 w 3288"/>
                      <a:gd name="T43" fmla="*/ 3558 h 3701"/>
                      <a:gd name="T44" fmla="*/ 3054 w 3288"/>
                      <a:gd name="T45" fmla="*/ 2816 h 3701"/>
                      <a:gd name="T46" fmla="*/ 3178 w 3288"/>
                      <a:gd name="T47" fmla="*/ 2601 h 3701"/>
                      <a:gd name="T48" fmla="*/ 3178 w 3288"/>
                      <a:gd name="T49" fmla="*/ 1116 h 3701"/>
                      <a:gd name="T50" fmla="*/ 3054 w 3288"/>
                      <a:gd name="T51" fmla="*/ 901 h 3701"/>
                      <a:gd name="T52" fmla="*/ 1767 w 3288"/>
                      <a:gd name="T53" fmla="*/ 159 h 3701"/>
                      <a:gd name="T54" fmla="*/ 1644 w 3288"/>
                      <a:gd name="T55" fmla="*/ 125 h 3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88" h="3701">
                        <a:moveTo>
                          <a:pt x="1644" y="3701"/>
                        </a:moveTo>
                        <a:cubicBezTo>
                          <a:pt x="1582" y="3701"/>
                          <a:pt x="1520" y="3685"/>
                          <a:pt x="1465" y="3654"/>
                        </a:cubicBezTo>
                        <a:cubicBezTo>
                          <a:pt x="178" y="2911"/>
                          <a:pt x="178" y="2911"/>
                          <a:pt x="178" y="2911"/>
                        </a:cubicBezTo>
                        <a:cubicBezTo>
                          <a:pt x="68" y="2847"/>
                          <a:pt x="0" y="2729"/>
                          <a:pt x="0" y="2601"/>
                        </a:cubicBezTo>
                        <a:cubicBezTo>
                          <a:pt x="0" y="1116"/>
                          <a:pt x="0" y="1116"/>
                          <a:pt x="0" y="1116"/>
                        </a:cubicBezTo>
                        <a:cubicBezTo>
                          <a:pt x="0" y="988"/>
                          <a:pt x="68" y="870"/>
                          <a:pt x="178" y="806"/>
                        </a:cubicBezTo>
                        <a:cubicBezTo>
                          <a:pt x="1465" y="63"/>
                          <a:pt x="1465" y="63"/>
                          <a:pt x="1465" y="63"/>
                        </a:cubicBezTo>
                        <a:cubicBezTo>
                          <a:pt x="1575" y="0"/>
                          <a:pt x="1712" y="0"/>
                          <a:pt x="1823" y="63"/>
                        </a:cubicBezTo>
                        <a:cubicBezTo>
                          <a:pt x="3109" y="806"/>
                          <a:pt x="3109" y="806"/>
                          <a:pt x="3109" y="806"/>
                        </a:cubicBezTo>
                        <a:cubicBezTo>
                          <a:pt x="3219" y="870"/>
                          <a:pt x="3288" y="988"/>
                          <a:pt x="3288" y="1116"/>
                        </a:cubicBezTo>
                        <a:cubicBezTo>
                          <a:pt x="3288" y="2601"/>
                          <a:pt x="3288" y="2601"/>
                          <a:pt x="3288" y="2601"/>
                        </a:cubicBezTo>
                        <a:cubicBezTo>
                          <a:pt x="3288" y="2729"/>
                          <a:pt x="3219" y="2847"/>
                          <a:pt x="3109" y="2911"/>
                        </a:cubicBezTo>
                        <a:cubicBezTo>
                          <a:pt x="1823" y="3654"/>
                          <a:pt x="1823" y="3654"/>
                          <a:pt x="1823" y="3654"/>
                        </a:cubicBezTo>
                        <a:cubicBezTo>
                          <a:pt x="1767" y="3685"/>
                          <a:pt x="1706" y="3701"/>
                          <a:pt x="1644" y="3701"/>
                        </a:cubicBezTo>
                        <a:close/>
                        <a:moveTo>
                          <a:pt x="1644" y="125"/>
                        </a:moveTo>
                        <a:cubicBezTo>
                          <a:pt x="1601" y="125"/>
                          <a:pt x="1558" y="136"/>
                          <a:pt x="1520" y="159"/>
                        </a:cubicBezTo>
                        <a:cubicBezTo>
                          <a:pt x="233" y="901"/>
                          <a:pt x="233" y="901"/>
                          <a:pt x="233" y="901"/>
                        </a:cubicBezTo>
                        <a:cubicBezTo>
                          <a:pt x="157" y="945"/>
                          <a:pt x="110" y="1027"/>
                          <a:pt x="110" y="1116"/>
                        </a:cubicBezTo>
                        <a:cubicBezTo>
                          <a:pt x="110" y="2601"/>
                          <a:pt x="110" y="2601"/>
                          <a:pt x="110" y="2601"/>
                        </a:cubicBezTo>
                        <a:cubicBezTo>
                          <a:pt x="110" y="2689"/>
                          <a:pt x="157" y="2771"/>
                          <a:pt x="233" y="2816"/>
                        </a:cubicBezTo>
                        <a:cubicBezTo>
                          <a:pt x="1520" y="3558"/>
                          <a:pt x="1520" y="3558"/>
                          <a:pt x="1520" y="3558"/>
                        </a:cubicBezTo>
                        <a:cubicBezTo>
                          <a:pt x="1596" y="3602"/>
                          <a:pt x="1691" y="3602"/>
                          <a:pt x="1767" y="3558"/>
                        </a:cubicBezTo>
                        <a:cubicBezTo>
                          <a:pt x="3054" y="2816"/>
                          <a:pt x="3054" y="2816"/>
                          <a:pt x="3054" y="2816"/>
                        </a:cubicBezTo>
                        <a:cubicBezTo>
                          <a:pt x="3130" y="2771"/>
                          <a:pt x="3178" y="2689"/>
                          <a:pt x="3178" y="2601"/>
                        </a:cubicBezTo>
                        <a:cubicBezTo>
                          <a:pt x="3178" y="1116"/>
                          <a:pt x="3178" y="1116"/>
                          <a:pt x="3178" y="1116"/>
                        </a:cubicBezTo>
                        <a:cubicBezTo>
                          <a:pt x="3178" y="1027"/>
                          <a:pt x="3130" y="945"/>
                          <a:pt x="3054" y="901"/>
                        </a:cubicBezTo>
                        <a:cubicBezTo>
                          <a:pt x="1767" y="159"/>
                          <a:pt x="1767" y="159"/>
                          <a:pt x="1767" y="159"/>
                        </a:cubicBezTo>
                        <a:cubicBezTo>
                          <a:pt x="1729" y="136"/>
                          <a:pt x="1686" y="125"/>
                          <a:pt x="1644" y="1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latin typeface="Lato" panose="020F0502020204030203" pitchFamily="34" charset="0"/>
                      <a:ea typeface="Lato" panose="020F0502020204030203" pitchFamily="34" charset="0"/>
                      <a:cs typeface="Lato" panose="020F0502020204030203" pitchFamily="34" charset="0"/>
                    </a:endParaRPr>
                  </a:p>
                </p:txBody>
              </p:sp>
              <p:sp>
                <p:nvSpPr>
                  <p:cNvPr id="93" name="Freeform 6">
                    <a:extLst>
                      <a:ext uri="{FF2B5EF4-FFF2-40B4-BE49-F238E27FC236}">
                        <a16:creationId xmlns:a16="http://schemas.microsoft.com/office/drawing/2014/main" id="{AA5B7C26-6AAD-4627-AC37-9710E648105B}"/>
                      </a:ext>
                    </a:extLst>
                  </p:cNvPr>
                  <p:cNvSpPr>
                    <a:spLocks/>
                  </p:cNvSpPr>
                  <p:nvPr/>
                </p:nvSpPr>
                <p:spPr bwMode="auto">
                  <a:xfrm>
                    <a:off x="1466926" y="3135303"/>
                    <a:ext cx="642047" cy="728830"/>
                  </a:xfrm>
                  <a:custGeom>
                    <a:avLst/>
                    <a:gdLst>
                      <a:gd name="T0" fmla="*/ 2555 w 2555"/>
                      <a:gd name="T1" fmla="*/ 2045 h 2897"/>
                      <a:gd name="T2" fmla="*/ 2555 w 2555"/>
                      <a:gd name="T3" fmla="*/ 851 h 2897"/>
                      <a:gd name="T4" fmla="*/ 2433 w 2555"/>
                      <a:gd name="T5" fmla="*/ 641 h 2897"/>
                      <a:gd name="T6" fmla="*/ 1399 w 2555"/>
                      <a:gd name="T7" fmla="*/ 44 h 2897"/>
                      <a:gd name="T8" fmla="*/ 1156 w 2555"/>
                      <a:gd name="T9" fmla="*/ 44 h 2897"/>
                      <a:gd name="T10" fmla="*/ 122 w 2555"/>
                      <a:gd name="T11" fmla="*/ 641 h 2897"/>
                      <a:gd name="T12" fmla="*/ 0 w 2555"/>
                      <a:gd name="T13" fmla="*/ 851 h 2897"/>
                      <a:gd name="T14" fmla="*/ 0 w 2555"/>
                      <a:gd name="T15" fmla="*/ 2045 h 2897"/>
                      <a:gd name="T16" fmla="*/ 122 w 2555"/>
                      <a:gd name="T17" fmla="*/ 2256 h 2897"/>
                      <a:gd name="T18" fmla="*/ 1156 w 2555"/>
                      <a:gd name="T19" fmla="*/ 2853 h 2897"/>
                      <a:gd name="T20" fmla="*/ 1399 w 2555"/>
                      <a:gd name="T21" fmla="*/ 2853 h 2897"/>
                      <a:gd name="T22" fmla="*/ 2433 w 2555"/>
                      <a:gd name="T23" fmla="*/ 2256 h 2897"/>
                      <a:gd name="T24" fmla="*/ 2555 w 2555"/>
                      <a:gd name="T25" fmla="*/ 204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5" h="2897">
                        <a:moveTo>
                          <a:pt x="2555" y="2045"/>
                        </a:moveTo>
                        <a:cubicBezTo>
                          <a:pt x="2555" y="851"/>
                          <a:pt x="2555" y="851"/>
                          <a:pt x="2555" y="851"/>
                        </a:cubicBezTo>
                        <a:cubicBezTo>
                          <a:pt x="2555" y="764"/>
                          <a:pt x="2509" y="684"/>
                          <a:pt x="2433" y="641"/>
                        </a:cubicBezTo>
                        <a:cubicBezTo>
                          <a:pt x="1399" y="44"/>
                          <a:pt x="1399" y="44"/>
                          <a:pt x="1399" y="44"/>
                        </a:cubicBezTo>
                        <a:cubicBezTo>
                          <a:pt x="1324" y="0"/>
                          <a:pt x="1231" y="0"/>
                          <a:pt x="1156" y="44"/>
                        </a:cubicBezTo>
                        <a:cubicBezTo>
                          <a:pt x="122" y="641"/>
                          <a:pt x="122" y="641"/>
                          <a:pt x="122" y="641"/>
                        </a:cubicBezTo>
                        <a:cubicBezTo>
                          <a:pt x="47" y="684"/>
                          <a:pt x="0" y="764"/>
                          <a:pt x="0" y="851"/>
                        </a:cubicBezTo>
                        <a:cubicBezTo>
                          <a:pt x="0" y="2045"/>
                          <a:pt x="0" y="2045"/>
                          <a:pt x="0" y="2045"/>
                        </a:cubicBezTo>
                        <a:cubicBezTo>
                          <a:pt x="0" y="2132"/>
                          <a:pt x="47" y="2213"/>
                          <a:pt x="122" y="2256"/>
                        </a:cubicBezTo>
                        <a:cubicBezTo>
                          <a:pt x="1156" y="2853"/>
                          <a:pt x="1156" y="2853"/>
                          <a:pt x="1156" y="2853"/>
                        </a:cubicBezTo>
                        <a:cubicBezTo>
                          <a:pt x="1231" y="2897"/>
                          <a:pt x="1324" y="2897"/>
                          <a:pt x="1399" y="2853"/>
                        </a:cubicBezTo>
                        <a:cubicBezTo>
                          <a:pt x="2433" y="2256"/>
                          <a:pt x="2433" y="2256"/>
                          <a:pt x="2433" y="2256"/>
                        </a:cubicBezTo>
                        <a:cubicBezTo>
                          <a:pt x="2509" y="2213"/>
                          <a:pt x="2555" y="2132"/>
                          <a:pt x="2555" y="2045"/>
                        </a:cubicBezTo>
                        <a:close/>
                      </a:path>
                    </a:pathLst>
                  </a:custGeom>
                  <a:solidFill>
                    <a:srgbClr val="5791D8"/>
                  </a:solidFill>
                  <a:ln>
                    <a:noFill/>
                  </a:ln>
                </p:spPr>
                <p:txBody>
                  <a:bodyPr vert="horz" wrap="square" lIns="91440" tIns="45720" rIns="91440" bIns="45720" numCol="1" anchor="t" anchorCtr="0" compatLnSpc="1">
                    <a:prstTxWarp prst="textNoShape">
                      <a:avLst/>
                    </a:prstTxWarp>
                  </a:bodyPr>
                  <a:lstStyle/>
                  <a:p>
                    <a:endParaRPr lang="en-US" sz="1800" dirty="0">
                      <a:solidFill>
                        <a:srgbClr val="5791D8"/>
                      </a:solidFill>
                      <a:latin typeface="Lato" panose="020F0502020204030203" pitchFamily="34" charset="0"/>
                      <a:ea typeface="Lato" panose="020F0502020204030203" pitchFamily="34" charset="0"/>
                      <a:cs typeface="Lato" panose="020F0502020204030203" pitchFamily="34" charset="0"/>
                    </a:endParaRPr>
                  </a:p>
                </p:txBody>
              </p:sp>
            </p:grpSp>
            <p:pic>
              <p:nvPicPr>
                <p:cNvPr id="91" name="Graphic 90">
                  <a:extLst>
                    <a:ext uri="{FF2B5EF4-FFF2-40B4-BE49-F238E27FC236}">
                      <a16:creationId xmlns:a16="http://schemas.microsoft.com/office/drawing/2014/main" id="{60ECC693-AE04-4B03-8DA7-0A075F3ADE6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61830" y="1854655"/>
                  <a:ext cx="731520" cy="731520"/>
                </a:xfrm>
                <a:prstGeom prst="rect">
                  <a:avLst/>
                </a:prstGeom>
              </p:spPr>
            </p:pic>
          </p:grpSp>
        </p:grpSp>
        <p:cxnSp>
          <p:nvCxnSpPr>
            <p:cNvPr id="13" name="Straight Connector 12">
              <a:extLst>
                <a:ext uri="{FF2B5EF4-FFF2-40B4-BE49-F238E27FC236}">
                  <a16:creationId xmlns:a16="http://schemas.microsoft.com/office/drawing/2014/main" id="{F99CD238-C411-4885-A6AD-14AFA0CC67BE}"/>
                </a:ext>
              </a:extLst>
            </p:cNvPr>
            <p:cNvCxnSpPr>
              <a:cxnSpLocks/>
            </p:cNvCxnSpPr>
            <p:nvPr/>
          </p:nvCxnSpPr>
          <p:spPr>
            <a:xfrm flipV="1">
              <a:off x="4628045" y="2283619"/>
              <a:ext cx="0" cy="453726"/>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CD7F8448-B3A9-47F4-B515-F0AB399505B2}"/>
              </a:ext>
            </a:extLst>
          </p:cNvPr>
          <p:cNvGrpSpPr/>
          <p:nvPr/>
        </p:nvGrpSpPr>
        <p:grpSpPr>
          <a:xfrm>
            <a:off x="6083068" y="2283619"/>
            <a:ext cx="2926080" cy="3675928"/>
            <a:chOff x="6083068" y="2283619"/>
            <a:chExt cx="2926080" cy="3675928"/>
          </a:xfrm>
        </p:grpSpPr>
        <p:grpSp>
          <p:nvGrpSpPr>
            <p:cNvPr id="3" name="Group 2">
              <a:extLst>
                <a:ext uri="{FF2B5EF4-FFF2-40B4-BE49-F238E27FC236}">
                  <a16:creationId xmlns:a16="http://schemas.microsoft.com/office/drawing/2014/main" id="{CB6F005D-F757-41E4-B103-D8E83ACA7BAC}"/>
                </a:ext>
              </a:extLst>
            </p:cNvPr>
            <p:cNvGrpSpPr/>
            <p:nvPr/>
          </p:nvGrpSpPr>
          <p:grpSpPr>
            <a:xfrm>
              <a:off x="6083068" y="2693713"/>
              <a:ext cx="2926080" cy="3265834"/>
              <a:chOff x="6580797" y="2226353"/>
              <a:chExt cx="2926080" cy="3265834"/>
            </a:xfrm>
          </p:grpSpPr>
          <p:sp>
            <p:nvSpPr>
              <p:cNvPr id="95" name="Rectangle 94">
                <a:extLst>
                  <a:ext uri="{FF2B5EF4-FFF2-40B4-BE49-F238E27FC236}">
                    <a16:creationId xmlns:a16="http://schemas.microsoft.com/office/drawing/2014/main" id="{352A2B66-E495-4B41-9784-859B029C9FA8}"/>
                  </a:ext>
                </a:extLst>
              </p:cNvPr>
              <p:cNvSpPr/>
              <p:nvPr/>
            </p:nvSpPr>
            <p:spPr>
              <a:xfrm>
                <a:off x="6580797" y="3676305"/>
                <a:ext cx="2926080" cy="1815882"/>
              </a:xfrm>
              <a:prstGeom prst="rect">
                <a:avLst/>
              </a:prstGeom>
            </p:spPr>
            <p:txBody>
              <a:bodyPr wrap="square">
                <a:spAutoFit/>
              </a:bodyPr>
              <a:lstStyle/>
              <a:p>
                <a:pPr algn="ctr"/>
                <a:r>
                  <a:rPr lang="en-US" sz="1400" dirty="0">
                    <a:solidFill>
                      <a:schemeClr val="tx1">
                        <a:lumMod val="75000"/>
                        <a:lumOff val="25000"/>
                      </a:schemeClr>
                    </a:solidFill>
                    <a:latin typeface="Raleway" pitchFamily="2" charset="0"/>
                    <a:ea typeface="Lato" panose="020F0502020204030203" pitchFamily="34" charset="0"/>
                    <a:cs typeface="Lato" panose="020F0502020204030203" pitchFamily="34" charset="0"/>
                  </a:rPr>
                  <a:t>Risk Consulting covering Portfolio &amp; Management Reporting, Basel III+ &amp; IV</a:t>
                </a:r>
              </a:p>
              <a:p>
                <a:pPr algn="ctr"/>
                <a:r>
                  <a:rPr lang="en-US" sz="1400" dirty="0">
                    <a:solidFill>
                      <a:schemeClr val="tx1">
                        <a:lumMod val="75000"/>
                        <a:lumOff val="25000"/>
                      </a:schemeClr>
                    </a:solidFill>
                    <a:latin typeface="Raleway" pitchFamily="2" charset="0"/>
                    <a:ea typeface="Lato" panose="020F0502020204030203" pitchFamily="34" charset="0"/>
                    <a:cs typeface="Lato" panose="020F0502020204030203" pitchFamily="34" charset="0"/>
                  </a:rPr>
                  <a:t>Capital, IFRS 9, Market &amp; Liquidity Risk, Credit Risk Modelling, Risk Data Warehouse</a:t>
                </a:r>
              </a:p>
              <a:p>
                <a:pPr algn="ctr"/>
                <a:r>
                  <a:rPr lang="en-US" sz="1400" dirty="0">
                    <a:solidFill>
                      <a:schemeClr val="tx1">
                        <a:lumMod val="75000"/>
                        <a:lumOff val="25000"/>
                      </a:schemeClr>
                    </a:solidFill>
                    <a:latin typeface="Raleway" pitchFamily="2" charset="0"/>
                    <a:ea typeface="Lato" panose="020F0502020204030203" pitchFamily="34" charset="0"/>
                    <a:cs typeface="Lato" panose="020F0502020204030203" pitchFamily="34" charset="0"/>
                  </a:rPr>
                  <a:t>implementation in leading Banks in Middle East &amp; Levant region</a:t>
                </a:r>
              </a:p>
            </p:txBody>
          </p:sp>
          <p:grpSp>
            <p:nvGrpSpPr>
              <p:cNvPr id="96" name="Group 95">
                <a:extLst>
                  <a:ext uri="{FF2B5EF4-FFF2-40B4-BE49-F238E27FC236}">
                    <a16:creationId xmlns:a16="http://schemas.microsoft.com/office/drawing/2014/main" id="{B6B6B3D6-8373-467F-A4AD-75A30226BBC2}"/>
                  </a:ext>
                </a:extLst>
              </p:cNvPr>
              <p:cNvGrpSpPr/>
              <p:nvPr/>
            </p:nvGrpSpPr>
            <p:grpSpPr>
              <a:xfrm>
                <a:off x="7439081" y="2226353"/>
                <a:ext cx="1209513" cy="1362346"/>
                <a:chOff x="5480936" y="1539242"/>
                <a:chExt cx="1209513" cy="1362346"/>
              </a:xfrm>
            </p:grpSpPr>
            <p:grpSp>
              <p:nvGrpSpPr>
                <p:cNvPr id="97" name="Group 96">
                  <a:extLst>
                    <a:ext uri="{FF2B5EF4-FFF2-40B4-BE49-F238E27FC236}">
                      <a16:creationId xmlns:a16="http://schemas.microsoft.com/office/drawing/2014/main" id="{8F18DDA3-26C9-40BC-8B76-1097A0ABAF0B}"/>
                    </a:ext>
                  </a:extLst>
                </p:cNvPr>
                <p:cNvGrpSpPr/>
                <p:nvPr/>
              </p:nvGrpSpPr>
              <p:grpSpPr>
                <a:xfrm>
                  <a:off x="5480936" y="1539242"/>
                  <a:ext cx="1209513" cy="1362346"/>
                  <a:chOff x="1415622" y="3080344"/>
                  <a:chExt cx="744654" cy="838748"/>
                </a:xfrm>
              </p:grpSpPr>
              <p:sp>
                <p:nvSpPr>
                  <p:cNvPr id="99" name="Freeform 5">
                    <a:extLst>
                      <a:ext uri="{FF2B5EF4-FFF2-40B4-BE49-F238E27FC236}">
                        <a16:creationId xmlns:a16="http://schemas.microsoft.com/office/drawing/2014/main" id="{304D7561-1C26-4F99-B543-05C406C071E1}"/>
                      </a:ext>
                    </a:extLst>
                  </p:cNvPr>
                  <p:cNvSpPr>
                    <a:spLocks noEditPoints="1"/>
                  </p:cNvSpPr>
                  <p:nvPr/>
                </p:nvSpPr>
                <p:spPr bwMode="auto">
                  <a:xfrm>
                    <a:off x="1415622" y="3080344"/>
                    <a:ext cx="744654" cy="838748"/>
                  </a:xfrm>
                  <a:custGeom>
                    <a:avLst/>
                    <a:gdLst>
                      <a:gd name="T0" fmla="*/ 1644 w 3288"/>
                      <a:gd name="T1" fmla="*/ 3701 h 3701"/>
                      <a:gd name="T2" fmla="*/ 1465 w 3288"/>
                      <a:gd name="T3" fmla="*/ 3654 h 3701"/>
                      <a:gd name="T4" fmla="*/ 178 w 3288"/>
                      <a:gd name="T5" fmla="*/ 2911 h 3701"/>
                      <a:gd name="T6" fmla="*/ 0 w 3288"/>
                      <a:gd name="T7" fmla="*/ 2601 h 3701"/>
                      <a:gd name="T8" fmla="*/ 0 w 3288"/>
                      <a:gd name="T9" fmla="*/ 1116 h 3701"/>
                      <a:gd name="T10" fmla="*/ 178 w 3288"/>
                      <a:gd name="T11" fmla="*/ 806 h 3701"/>
                      <a:gd name="T12" fmla="*/ 1465 w 3288"/>
                      <a:gd name="T13" fmla="*/ 63 h 3701"/>
                      <a:gd name="T14" fmla="*/ 1823 w 3288"/>
                      <a:gd name="T15" fmla="*/ 63 h 3701"/>
                      <a:gd name="T16" fmla="*/ 3109 w 3288"/>
                      <a:gd name="T17" fmla="*/ 806 h 3701"/>
                      <a:gd name="T18" fmla="*/ 3288 w 3288"/>
                      <a:gd name="T19" fmla="*/ 1116 h 3701"/>
                      <a:gd name="T20" fmla="*/ 3288 w 3288"/>
                      <a:gd name="T21" fmla="*/ 2601 h 3701"/>
                      <a:gd name="T22" fmla="*/ 3109 w 3288"/>
                      <a:gd name="T23" fmla="*/ 2911 h 3701"/>
                      <a:gd name="T24" fmla="*/ 1823 w 3288"/>
                      <a:gd name="T25" fmla="*/ 3654 h 3701"/>
                      <a:gd name="T26" fmla="*/ 1644 w 3288"/>
                      <a:gd name="T27" fmla="*/ 3701 h 3701"/>
                      <a:gd name="T28" fmla="*/ 1644 w 3288"/>
                      <a:gd name="T29" fmla="*/ 125 h 3701"/>
                      <a:gd name="T30" fmla="*/ 1520 w 3288"/>
                      <a:gd name="T31" fmla="*/ 159 h 3701"/>
                      <a:gd name="T32" fmla="*/ 233 w 3288"/>
                      <a:gd name="T33" fmla="*/ 901 h 3701"/>
                      <a:gd name="T34" fmla="*/ 110 w 3288"/>
                      <a:gd name="T35" fmla="*/ 1116 h 3701"/>
                      <a:gd name="T36" fmla="*/ 110 w 3288"/>
                      <a:gd name="T37" fmla="*/ 2601 h 3701"/>
                      <a:gd name="T38" fmla="*/ 233 w 3288"/>
                      <a:gd name="T39" fmla="*/ 2816 h 3701"/>
                      <a:gd name="T40" fmla="*/ 1520 w 3288"/>
                      <a:gd name="T41" fmla="*/ 3558 h 3701"/>
                      <a:gd name="T42" fmla="*/ 1767 w 3288"/>
                      <a:gd name="T43" fmla="*/ 3558 h 3701"/>
                      <a:gd name="T44" fmla="*/ 3054 w 3288"/>
                      <a:gd name="T45" fmla="*/ 2816 h 3701"/>
                      <a:gd name="T46" fmla="*/ 3178 w 3288"/>
                      <a:gd name="T47" fmla="*/ 2601 h 3701"/>
                      <a:gd name="T48" fmla="*/ 3178 w 3288"/>
                      <a:gd name="T49" fmla="*/ 1116 h 3701"/>
                      <a:gd name="T50" fmla="*/ 3054 w 3288"/>
                      <a:gd name="T51" fmla="*/ 901 h 3701"/>
                      <a:gd name="T52" fmla="*/ 1767 w 3288"/>
                      <a:gd name="T53" fmla="*/ 159 h 3701"/>
                      <a:gd name="T54" fmla="*/ 1644 w 3288"/>
                      <a:gd name="T55" fmla="*/ 125 h 3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88" h="3701">
                        <a:moveTo>
                          <a:pt x="1644" y="3701"/>
                        </a:moveTo>
                        <a:cubicBezTo>
                          <a:pt x="1582" y="3701"/>
                          <a:pt x="1520" y="3685"/>
                          <a:pt x="1465" y="3654"/>
                        </a:cubicBezTo>
                        <a:cubicBezTo>
                          <a:pt x="178" y="2911"/>
                          <a:pt x="178" y="2911"/>
                          <a:pt x="178" y="2911"/>
                        </a:cubicBezTo>
                        <a:cubicBezTo>
                          <a:pt x="68" y="2847"/>
                          <a:pt x="0" y="2729"/>
                          <a:pt x="0" y="2601"/>
                        </a:cubicBezTo>
                        <a:cubicBezTo>
                          <a:pt x="0" y="1116"/>
                          <a:pt x="0" y="1116"/>
                          <a:pt x="0" y="1116"/>
                        </a:cubicBezTo>
                        <a:cubicBezTo>
                          <a:pt x="0" y="988"/>
                          <a:pt x="68" y="870"/>
                          <a:pt x="178" y="806"/>
                        </a:cubicBezTo>
                        <a:cubicBezTo>
                          <a:pt x="1465" y="63"/>
                          <a:pt x="1465" y="63"/>
                          <a:pt x="1465" y="63"/>
                        </a:cubicBezTo>
                        <a:cubicBezTo>
                          <a:pt x="1575" y="0"/>
                          <a:pt x="1712" y="0"/>
                          <a:pt x="1823" y="63"/>
                        </a:cubicBezTo>
                        <a:cubicBezTo>
                          <a:pt x="3109" y="806"/>
                          <a:pt x="3109" y="806"/>
                          <a:pt x="3109" y="806"/>
                        </a:cubicBezTo>
                        <a:cubicBezTo>
                          <a:pt x="3219" y="870"/>
                          <a:pt x="3288" y="988"/>
                          <a:pt x="3288" y="1116"/>
                        </a:cubicBezTo>
                        <a:cubicBezTo>
                          <a:pt x="3288" y="2601"/>
                          <a:pt x="3288" y="2601"/>
                          <a:pt x="3288" y="2601"/>
                        </a:cubicBezTo>
                        <a:cubicBezTo>
                          <a:pt x="3288" y="2729"/>
                          <a:pt x="3219" y="2847"/>
                          <a:pt x="3109" y="2911"/>
                        </a:cubicBezTo>
                        <a:cubicBezTo>
                          <a:pt x="1823" y="3654"/>
                          <a:pt x="1823" y="3654"/>
                          <a:pt x="1823" y="3654"/>
                        </a:cubicBezTo>
                        <a:cubicBezTo>
                          <a:pt x="1767" y="3685"/>
                          <a:pt x="1706" y="3701"/>
                          <a:pt x="1644" y="3701"/>
                        </a:cubicBezTo>
                        <a:close/>
                        <a:moveTo>
                          <a:pt x="1644" y="125"/>
                        </a:moveTo>
                        <a:cubicBezTo>
                          <a:pt x="1601" y="125"/>
                          <a:pt x="1558" y="136"/>
                          <a:pt x="1520" y="159"/>
                        </a:cubicBezTo>
                        <a:cubicBezTo>
                          <a:pt x="233" y="901"/>
                          <a:pt x="233" y="901"/>
                          <a:pt x="233" y="901"/>
                        </a:cubicBezTo>
                        <a:cubicBezTo>
                          <a:pt x="157" y="945"/>
                          <a:pt x="110" y="1027"/>
                          <a:pt x="110" y="1116"/>
                        </a:cubicBezTo>
                        <a:cubicBezTo>
                          <a:pt x="110" y="2601"/>
                          <a:pt x="110" y="2601"/>
                          <a:pt x="110" y="2601"/>
                        </a:cubicBezTo>
                        <a:cubicBezTo>
                          <a:pt x="110" y="2689"/>
                          <a:pt x="157" y="2771"/>
                          <a:pt x="233" y="2816"/>
                        </a:cubicBezTo>
                        <a:cubicBezTo>
                          <a:pt x="1520" y="3558"/>
                          <a:pt x="1520" y="3558"/>
                          <a:pt x="1520" y="3558"/>
                        </a:cubicBezTo>
                        <a:cubicBezTo>
                          <a:pt x="1596" y="3602"/>
                          <a:pt x="1691" y="3602"/>
                          <a:pt x="1767" y="3558"/>
                        </a:cubicBezTo>
                        <a:cubicBezTo>
                          <a:pt x="3054" y="2816"/>
                          <a:pt x="3054" y="2816"/>
                          <a:pt x="3054" y="2816"/>
                        </a:cubicBezTo>
                        <a:cubicBezTo>
                          <a:pt x="3130" y="2771"/>
                          <a:pt x="3178" y="2689"/>
                          <a:pt x="3178" y="2601"/>
                        </a:cubicBezTo>
                        <a:cubicBezTo>
                          <a:pt x="3178" y="1116"/>
                          <a:pt x="3178" y="1116"/>
                          <a:pt x="3178" y="1116"/>
                        </a:cubicBezTo>
                        <a:cubicBezTo>
                          <a:pt x="3178" y="1027"/>
                          <a:pt x="3130" y="945"/>
                          <a:pt x="3054" y="901"/>
                        </a:cubicBezTo>
                        <a:cubicBezTo>
                          <a:pt x="1767" y="159"/>
                          <a:pt x="1767" y="159"/>
                          <a:pt x="1767" y="159"/>
                        </a:cubicBezTo>
                        <a:cubicBezTo>
                          <a:pt x="1729" y="136"/>
                          <a:pt x="1686" y="125"/>
                          <a:pt x="1644" y="1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latin typeface="Lato" panose="020F0502020204030203" pitchFamily="34" charset="0"/>
                      <a:ea typeface="Lato" panose="020F0502020204030203" pitchFamily="34" charset="0"/>
                      <a:cs typeface="Lato" panose="020F0502020204030203" pitchFamily="34" charset="0"/>
                    </a:endParaRPr>
                  </a:p>
                </p:txBody>
              </p:sp>
              <p:sp>
                <p:nvSpPr>
                  <p:cNvPr id="100" name="Freeform 6">
                    <a:extLst>
                      <a:ext uri="{FF2B5EF4-FFF2-40B4-BE49-F238E27FC236}">
                        <a16:creationId xmlns:a16="http://schemas.microsoft.com/office/drawing/2014/main" id="{D8234211-30D1-406D-87F1-B53B7F3D178A}"/>
                      </a:ext>
                    </a:extLst>
                  </p:cNvPr>
                  <p:cNvSpPr>
                    <a:spLocks/>
                  </p:cNvSpPr>
                  <p:nvPr/>
                </p:nvSpPr>
                <p:spPr bwMode="auto">
                  <a:xfrm>
                    <a:off x="1466926" y="3135303"/>
                    <a:ext cx="642047" cy="728830"/>
                  </a:xfrm>
                  <a:custGeom>
                    <a:avLst/>
                    <a:gdLst>
                      <a:gd name="T0" fmla="*/ 2555 w 2555"/>
                      <a:gd name="T1" fmla="*/ 2045 h 2897"/>
                      <a:gd name="T2" fmla="*/ 2555 w 2555"/>
                      <a:gd name="T3" fmla="*/ 851 h 2897"/>
                      <a:gd name="T4" fmla="*/ 2433 w 2555"/>
                      <a:gd name="T5" fmla="*/ 641 h 2897"/>
                      <a:gd name="T6" fmla="*/ 1399 w 2555"/>
                      <a:gd name="T7" fmla="*/ 44 h 2897"/>
                      <a:gd name="T8" fmla="*/ 1156 w 2555"/>
                      <a:gd name="T9" fmla="*/ 44 h 2897"/>
                      <a:gd name="T10" fmla="*/ 122 w 2555"/>
                      <a:gd name="T11" fmla="*/ 641 h 2897"/>
                      <a:gd name="T12" fmla="*/ 0 w 2555"/>
                      <a:gd name="T13" fmla="*/ 851 h 2897"/>
                      <a:gd name="T14" fmla="*/ 0 w 2555"/>
                      <a:gd name="T15" fmla="*/ 2045 h 2897"/>
                      <a:gd name="T16" fmla="*/ 122 w 2555"/>
                      <a:gd name="T17" fmla="*/ 2256 h 2897"/>
                      <a:gd name="T18" fmla="*/ 1156 w 2555"/>
                      <a:gd name="T19" fmla="*/ 2853 h 2897"/>
                      <a:gd name="T20" fmla="*/ 1399 w 2555"/>
                      <a:gd name="T21" fmla="*/ 2853 h 2897"/>
                      <a:gd name="T22" fmla="*/ 2433 w 2555"/>
                      <a:gd name="T23" fmla="*/ 2256 h 2897"/>
                      <a:gd name="T24" fmla="*/ 2555 w 2555"/>
                      <a:gd name="T25" fmla="*/ 204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5" h="2897">
                        <a:moveTo>
                          <a:pt x="2555" y="2045"/>
                        </a:moveTo>
                        <a:cubicBezTo>
                          <a:pt x="2555" y="851"/>
                          <a:pt x="2555" y="851"/>
                          <a:pt x="2555" y="851"/>
                        </a:cubicBezTo>
                        <a:cubicBezTo>
                          <a:pt x="2555" y="764"/>
                          <a:pt x="2509" y="684"/>
                          <a:pt x="2433" y="641"/>
                        </a:cubicBezTo>
                        <a:cubicBezTo>
                          <a:pt x="1399" y="44"/>
                          <a:pt x="1399" y="44"/>
                          <a:pt x="1399" y="44"/>
                        </a:cubicBezTo>
                        <a:cubicBezTo>
                          <a:pt x="1324" y="0"/>
                          <a:pt x="1231" y="0"/>
                          <a:pt x="1156" y="44"/>
                        </a:cubicBezTo>
                        <a:cubicBezTo>
                          <a:pt x="122" y="641"/>
                          <a:pt x="122" y="641"/>
                          <a:pt x="122" y="641"/>
                        </a:cubicBezTo>
                        <a:cubicBezTo>
                          <a:pt x="47" y="684"/>
                          <a:pt x="0" y="764"/>
                          <a:pt x="0" y="851"/>
                        </a:cubicBezTo>
                        <a:cubicBezTo>
                          <a:pt x="0" y="2045"/>
                          <a:pt x="0" y="2045"/>
                          <a:pt x="0" y="2045"/>
                        </a:cubicBezTo>
                        <a:cubicBezTo>
                          <a:pt x="0" y="2132"/>
                          <a:pt x="47" y="2213"/>
                          <a:pt x="122" y="2256"/>
                        </a:cubicBezTo>
                        <a:cubicBezTo>
                          <a:pt x="1156" y="2853"/>
                          <a:pt x="1156" y="2853"/>
                          <a:pt x="1156" y="2853"/>
                        </a:cubicBezTo>
                        <a:cubicBezTo>
                          <a:pt x="1231" y="2897"/>
                          <a:pt x="1324" y="2897"/>
                          <a:pt x="1399" y="2853"/>
                        </a:cubicBezTo>
                        <a:cubicBezTo>
                          <a:pt x="2433" y="2256"/>
                          <a:pt x="2433" y="2256"/>
                          <a:pt x="2433" y="2256"/>
                        </a:cubicBezTo>
                        <a:cubicBezTo>
                          <a:pt x="2509" y="2213"/>
                          <a:pt x="2555" y="2132"/>
                          <a:pt x="2555" y="2045"/>
                        </a:cubicBezTo>
                        <a:close/>
                      </a:path>
                    </a:pathLst>
                  </a:custGeom>
                  <a:solidFill>
                    <a:srgbClr val="5791D8"/>
                  </a:solidFill>
                  <a:ln>
                    <a:noFill/>
                  </a:ln>
                </p:spPr>
                <p:txBody>
                  <a:bodyPr vert="horz" wrap="square" lIns="91440" tIns="45720" rIns="91440" bIns="45720" numCol="1" anchor="t" anchorCtr="0" compatLnSpc="1">
                    <a:prstTxWarp prst="textNoShape">
                      <a:avLst/>
                    </a:prstTxWarp>
                  </a:bodyPr>
                  <a:lstStyle/>
                  <a:p>
                    <a:endParaRPr lang="en-US" sz="1800" dirty="0">
                      <a:solidFill>
                        <a:srgbClr val="5791D8"/>
                      </a:solidFill>
                      <a:latin typeface="Lato" panose="020F0502020204030203" pitchFamily="34" charset="0"/>
                      <a:ea typeface="Lato" panose="020F0502020204030203" pitchFamily="34" charset="0"/>
                      <a:cs typeface="Lato" panose="020F0502020204030203" pitchFamily="34" charset="0"/>
                    </a:endParaRPr>
                  </a:p>
                </p:txBody>
              </p:sp>
            </p:grpSp>
            <p:pic>
              <p:nvPicPr>
                <p:cNvPr id="98" name="Graphic 97">
                  <a:extLst>
                    <a:ext uri="{FF2B5EF4-FFF2-40B4-BE49-F238E27FC236}">
                      <a16:creationId xmlns:a16="http://schemas.microsoft.com/office/drawing/2014/main" id="{FF872161-0B0E-4DE9-A06E-49DE44C9A75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19932" y="1854655"/>
                  <a:ext cx="731520" cy="731520"/>
                </a:xfrm>
                <a:prstGeom prst="rect">
                  <a:avLst/>
                </a:prstGeom>
              </p:spPr>
            </p:pic>
          </p:grpSp>
        </p:grpSp>
        <p:cxnSp>
          <p:nvCxnSpPr>
            <p:cNvPr id="48" name="Straight Connector 47">
              <a:extLst>
                <a:ext uri="{FF2B5EF4-FFF2-40B4-BE49-F238E27FC236}">
                  <a16:creationId xmlns:a16="http://schemas.microsoft.com/office/drawing/2014/main" id="{78D19291-422B-4E41-B65D-241EB931029A}"/>
                </a:ext>
              </a:extLst>
            </p:cNvPr>
            <p:cNvCxnSpPr>
              <a:cxnSpLocks/>
            </p:cNvCxnSpPr>
            <p:nvPr/>
          </p:nvCxnSpPr>
          <p:spPr>
            <a:xfrm flipV="1">
              <a:off x="7546108" y="2283619"/>
              <a:ext cx="0" cy="45720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B70ED1CE-E92F-4C6D-A9B4-B4C422C732DD}"/>
              </a:ext>
            </a:extLst>
          </p:cNvPr>
          <p:cNvGrpSpPr/>
          <p:nvPr/>
        </p:nvGrpSpPr>
        <p:grpSpPr>
          <a:xfrm>
            <a:off x="9001132" y="2272506"/>
            <a:ext cx="2926080" cy="3482483"/>
            <a:chOff x="9001132" y="2272506"/>
            <a:chExt cx="2926080" cy="3482483"/>
          </a:xfrm>
        </p:grpSpPr>
        <p:grpSp>
          <p:nvGrpSpPr>
            <p:cNvPr id="4" name="Group 3">
              <a:extLst>
                <a:ext uri="{FF2B5EF4-FFF2-40B4-BE49-F238E27FC236}">
                  <a16:creationId xmlns:a16="http://schemas.microsoft.com/office/drawing/2014/main" id="{DD8B7F0B-AA87-450B-A398-DDBD4A168E8E}"/>
                </a:ext>
              </a:extLst>
            </p:cNvPr>
            <p:cNvGrpSpPr/>
            <p:nvPr/>
          </p:nvGrpSpPr>
          <p:grpSpPr>
            <a:xfrm>
              <a:off x="9001132" y="2693713"/>
              <a:ext cx="2926080" cy="3061276"/>
              <a:chOff x="9712332" y="2226353"/>
              <a:chExt cx="2926080" cy="3061276"/>
            </a:xfrm>
          </p:grpSpPr>
          <p:sp>
            <p:nvSpPr>
              <p:cNvPr id="109" name="Rectangle 108">
                <a:extLst>
                  <a:ext uri="{FF2B5EF4-FFF2-40B4-BE49-F238E27FC236}">
                    <a16:creationId xmlns:a16="http://schemas.microsoft.com/office/drawing/2014/main" id="{D90C1519-A7D3-418F-BF68-12FFF8F3E776}"/>
                  </a:ext>
                </a:extLst>
              </p:cNvPr>
              <p:cNvSpPr/>
              <p:nvPr/>
            </p:nvSpPr>
            <p:spPr>
              <a:xfrm>
                <a:off x="9712332" y="3687191"/>
                <a:ext cx="2926080" cy="1600438"/>
              </a:xfrm>
              <a:prstGeom prst="rect">
                <a:avLst/>
              </a:prstGeom>
            </p:spPr>
            <p:txBody>
              <a:bodyPr wrap="square">
                <a:spAutoFit/>
              </a:bodyPr>
              <a:lstStyle/>
              <a:p>
                <a:pPr algn="ctr"/>
                <a:r>
                  <a:rPr lang="en-US" sz="1400" dirty="0">
                    <a:solidFill>
                      <a:schemeClr val="tx1">
                        <a:lumMod val="75000"/>
                        <a:lumOff val="25000"/>
                      </a:schemeClr>
                    </a:solidFill>
                    <a:latin typeface="Raleway" pitchFamily="2" charset="0"/>
                    <a:ea typeface="Lato" panose="020F0502020204030203" pitchFamily="34" charset="0"/>
                    <a:cs typeface="Lato" panose="020F0502020204030203" pitchFamily="34" charset="0"/>
                  </a:rPr>
                  <a:t>Strong domain knowledge, product design, technology platform and implementation</a:t>
                </a:r>
              </a:p>
              <a:p>
                <a:pPr algn="ctr"/>
                <a:r>
                  <a:rPr lang="en-US" sz="1400" dirty="0">
                    <a:solidFill>
                      <a:schemeClr val="tx1">
                        <a:lumMod val="75000"/>
                        <a:lumOff val="25000"/>
                      </a:schemeClr>
                    </a:solidFill>
                    <a:latin typeface="Raleway" pitchFamily="2" charset="0"/>
                    <a:ea typeface="Lato" panose="020F0502020204030203" pitchFamily="34" charset="0"/>
                    <a:cs typeface="Lato" panose="020F0502020204030203" pitchFamily="34" charset="0"/>
                  </a:rPr>
                  <a:t>capability, its core team having worked with leading banks and financial institutions across 6 countries</a:t>
                </a:r>
              </a:p>
            </p:txBody>
          </p:sp>
          <p:grpSp>
            <p:nvGrpSpPr>
              <p:cNvPr id="110" name="Group 109">
                <a:extLst>
                  <a:ext uri="{FF2B5EF4-FFF2-40B4-BE49-F238E27FC236}">
                    <a16:creationId xmlns:a16="http://schemas.microsoft.com/office/drawing/2014/main" id="{F83277F2-FAC0-4B0E-A6B4-87ECA72224E6}"/>
                  </a:ext>
                </a:extLst>
              </p:cNvPr>
              <p:cNvGrpSpPr/>
              <p:nvPr/>
            </p:nvGrpSpPr>
            <p:grpSpPr>
              <a:xfrm>
                <a:off x="10570565" y="2226353"/>
                <a:ext cx="1209614" cy="1362346"/>
                <a:chOff x="7939038" y="1539242"/>
                <a:chExt cx="1209614" cy="1362346"/>
              </a:xfrm>
            </p:grpSpPr>
            <p:grpSp>
              <p:nvGrpSpPr>
                <p:cNvPr id="111" name="Group 110">
                  <a:extLst>
                    <a:ext uri="{FF2B5EF4-FFF2-40B4-BE49-F238E27FC236}">
                      <a16:creationId xmlns:a16="http://schemas.microsoft.com/office/drawing/2014/main" id="{6F6DCC70-DCB5-4351-A242-98F898469FFC}"/>
                    </a:ext>
                  </a:extLst>
                </p:cNvPr>
                <p:cNvGrpSpPr/>
                <p:nvPr/>
              </p:nvGrpSpPr>
              <p:grpSpPr>
                <a:xfrm>
                  <a:off x="7939038" y="1539242"/>
                  <a:ext cx="1209614" cy="1362346"/>
                  <a:chOff x="1415622" y="3080344"/>
                  <a:chExt cx="744654" cy="838748"/>
                </a:xfrm>
              </p:grpSpPr>
              <p:sp>
                <p:nvSpPr>
                  <p:cNvPr id="113" name="Freeform 5">
                    <a:extLst>
                      <a:ext uri="{FF2B5EF4-FFF2-40B4-BE49-F238E27FC236}">
                        <a16:creationId xmlns:a16="http://schemas.microsoft.com/office/drawing/2014/main" id="{AB1F7F6C-07B6-441B-867A-1FF04F4C36FE}"/>
                      </a:ext>
                    </a:extLst>
                  </p:cNvPr>
                  <p:cNvSpPr>
                    <a:spLocks noEditPoints="1"/>
                  </p:cNvSpPr>
                  <p:nvPr/>
                </p:nvSpPr>
                <p:spPr bwMode="auto">
                  <a:xfrm>
                    <a:off x="1415622" y="3080344"/>
                    <a:ext cx="744654" cy="838748"/>
                  </a:xfrm>
                  <a:custGeom>
                    <a:avLst/>
                    <a:gdLst>
                      <a:gd name="T0" fmla="*/ 1644 w 3288"/>
                      <a:gd name="T1" fmla="*/ 3701 h 3701"/>
                      <a:gd name="T2" fmla="*/ 1465 w 3288"/>
                      <a:gd name="T3" fmla="*/ 3654 h 3701"/>
                      <a:gd name="T4" fmla="*/ 178 w 3288"/>
                      <a:gd name="T5" fmla="*/ 2911 h 3701"/>
                      <a:gd name="T6" fmla="*/ 0 w 3288"/>
                      <a:gd name="T7" fmla="*/ 2601 h 3701"/>
                      <a:gd name="T8" fmla="*/ 0 w 3288"/>
                      <a:gd name="T9" fmla="*/ 1116 h 3701"/>
                      <a:gd name="T10" fmla="*/ 178 w 3288"/>
                      <a:gd name="T11" fmla="*/ 806 h 3701"/>
                      <a:gd name="T12" fmla="*/ 1465 w 3288"/>
                      <a:gd name="T13" fmla="*/ 63 h 3701"/>
                      <a:gd name="T14" fmla="*/ 1823 w 3288"/>
                      <a:gd name="T15" fmla="*/ 63 h 3701"/>
                      <a:gd name="T16" fmla="*/ 3109 w 3288"/>
                      <a:gd name="T17" fmla="*/ 806 h 3701"/>
                      <a:gd name="T18" fmla="*/ 3288 w 3288"/>
                      <a:gd name="T19" fmla="*/ 1116 h 3701"/>
                      <a:gd name="T20" fmla="*/ 3288 w 3288"/>
                      <a:gd name="T21" fmla="*/ 2601 h 3701"/>
                      <a:gd name="T22" fmla="*/ 3109 w 3288"/>
                      <a:gd name="T23" fmla="*/ 2911 h 3701"/>
                      <a:gd name="T24" fmla="*/ 1823 w 3288"/>
                      <a:gd name="T25" fmla="*/ 3654 h 3701"/>
                      <a:gd name="T26" fmla="*/ 1644 w 3288"/>
                      <a:gd name="T27" fmla="*/ 3701 h 3701"/>
                      <a:gd name="T28" fmla="*/ 1644 w 3288"/>
                      <a:gd name="T29" fmla="*/ 125 h 3701"/>
                      <a:gd name="T30" fmla="*/ 1520 w 3288"/>
                      <a:gd name="T31" fmla="*/ 159 h 3701"/>
                      <a:gd name="T32" fmla="*/ 233 w 3288"/>
                      <a:gd name="T33" fmla="*/ 901 h 3701"/>
                      <a:gd name="T34" fmla="*/ 110 w 3288"/>
                      <a:gd name="T35" fmla="*/ 1116 h 3701"/>
                      <a:gd name="T36" fmla="*/ 110 w 3288"/>
                      <a:gd name="T37" fmla="*/ 2601 h 3701"/>
                      <a:gd name="T38" fmla="*/ 233 w 3288"/>
                      <a:gd name="T39" fmla="*/ 2816 h 3701"/>
                      <a:gd name="T40" fmla="*/ 1520 w 3288"/>
                      <a:gd name="T41" fmla="*/ 3558 h 3701"/>
                      <a:gd name="T42" fmla="*/ 1767 w 3288"/>
                      <a:gd name="T43" fmla="*/ 3558 h 3701"/>
                      <a:gd name="T44" fmla="*/ 3054 w 3288"/>
                      <a:gd name="T45" fmla="*/ 2816 h 3701"/>
                      <a:gd name="T46" fmla="*/ 3178 w 3288"/>
                      <a:gd name="T47" fmla="*/ 2601 h 3701"/>
                      <a:gd name="T48" fmla="*/ 3178 w 3288"/>
                      <a:gd name="T49" fmla="*/ 1116 h 3701"/>
                      <a:gd name="T50" fmla="*/ 3054 w 3288"/>
                      <a:gd name="T51" fmla="*/ 901 h 3701"/>
                      <a:gd name="T52" fmla="*/ 1767 w 3288"/>
                      <a:gd name="T53" fmla="*/ 159 h 3701"/>
                      <a:gd name="T54" fmla="*/ 1644 w 3288"/>
                      <a:gd name="T55" fmla="*/ 125 h 3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88" h="3701">
                        <a:moveTo>
                          <a:pt x="1644" y="3701"/>
                        </a:moveTo>
                        <a:cubicBezTo>
                          <a:pt x="1582" y="3701"/>
                          <a:pt x="1520" y="3685"/>
                          <a:pt x="1465" y="3654"/>
                        </a:cubicBezTo>
                        <a:cubicBezTo>
                          <a:pt x="178" y="2911"/>
                          <a:pt x="178" y="2911"/>
                          <a:pt x="178" y="2911"/>
                        </a:cubicBezTo>
                        <a:cubicBezTo>
                          <a:pt x="68" y="2847"/>
                          <a:pt x="0" y="2729"/>
                          <a:pt x="0" y="2601"/>
                        </a:cubicBezTo>
                        <a:cubicBezTo>
                          <a:pt x="0" y="1116"/>
                          <a:pt x="0" y="1116"/>
                          <a:pt x="0" y="1116"/>
                        </a:cubicBezTo>
                        <a:cubicBezTo>
                          <a:pt x="0" y="988"/>
                          <a:pt x="68" y="870"/>
                          <a:pt x="178" y="806"/>
                        </a:cubicBezTo>
                        <a:cubicBezTo>
                          <a:pt x="1465" y="63"/>
                          <a:pt x="1465" y="63"/>
                          <a:pt x="1465" y="63"/>
                        </a:cubicBezTo>
                        <a:cubicBezTo>
                          <a:pt x="1575" y="0"/>
                          <a:pt x="1712" y="0"/>
                          <a:pt x="1823" y="63"/>
                        </a:cubicBezTo>
                        <a:cubicBezTo>
                          <a:pt x="3109" y="806"/>
                          <a:pt x="3109" y="806"/>
                          <a:pt x="3109" y="806"/>
                        </a:cubicBezTo>
                        <a:cubicBezTo>
                          <a:pt x="3219" y="870"/>
                          <a:pt x="3288" y="988"/>
                          <a:pt x="3288" y="1116"/>
                        </a:cubicBezTo>
                        <a:cubicBezTo>
                          <a:pt x="3288" y="2601"/>
                          <a:pt x="3288" y="2601"/>
                          <a:pt x="3288" y="2601"/>
                        </a:cubicBezTo>
                        <a:cubicBezTo>
                          <a:pt x="3288" y="2729"/>
                          <a:pt x="3219" y="2847"/>
                          <a:pt x="3109" y="2911"/>
                        </a:cubicBezTo>
                        <a:cubicBezTo>
                          <a:pt x="1823" y="3654"/>
                          <a:pt x="1823" y="3654"/>
                          <a:pt x="1823" y="3654"/>
                        </a:cubicBezTo>
                        <a:cubicBezTo>
                          <a:pt x="1767" y="3685"/>
                          <a:pt x="1706" y="3701"/>
                          <a:pt x="1644" y="3701"/>
                        </a:cubicBezTo>
                        <a:close/>
                        <a:moveTo>
                          <a:pt x="1644" y="125"/>
                        </a:moveTo>
                        <a:cubicBezTo>
                          <a:pt x="1601" y="125"/>
                          <a:pt x="1558" y="136"/>
                          <a:pt x="1520" y="159"/>
                        </a:cubicBezTo>
                        <a:cubicBezTo>
                          <a:pt x="233" y="901"/>
                          <a:pt x="233" y="901"/>
                          <a:pt x="233" y="901"/>
                        </a:cubicBezTo>
                        <a:cubicBezTo>
                          <a:pt x="157" y="945"/>
                          <a:pt x="110" y="1027"/>
                          <a:pt x="110" y="1116"/>
                        </a:cubicBezTo>
                        <a:cubicBezTo>
                          <a:pt x="110" y="2601"/>
                          <a:pt x="110" y="2601"/>
                          <a:pt x="110" y="2601"/>
                        </a:cubicBezTo>
                        <a:cubicBezTo>
                          <a:pt x="110" y="2689"/>
                          <a:pt x="157" y="2771"/>
                          <a:pt x="233" y="2816"/>
                        </a:cubicBezTo>
                        <a:cubicBezTo>
                          <a:pt x="1520" y="3558"/>
                          <a:pt x="1520" y="3558"/>
                          <a:pt x="1520" y="3558"/>
                        </a:cubicBezTo>
                        <a:cubicBezTo>
                          <a:pt x="1596" y="3602"/>
                          <a:pt x="1691" y="3602"/>
                          <a:pt x="1767" y="3558"/>
                        </a:cubicBezTo>
                        <a:cubicBezTo>
                          <a:pt x="3054" y="2816"/>
                          <a:pt x="3054" y="2816"/>
                          <a:pt x="3054" y="2816"/>
                        </a:cubicBezTo>
                        <a:cubicBezTo>
                          <a:pt x="3130" y="2771"/>
                          <a:pt x="3178" y="2689"/>
                          <a:pt x="3178" y="2601"/>
                        </a:cubicBezTo>
                        <a:cubicBezTo>
                          <a:pt x="3178" y="1116"/>
                          <a:pt x="3178" y="1116"/>
                          <a:pt x="3178" y="1116"/>
                        </a:cubicBezTo>
                        <a:cubicBezTo>
                          <a:pt x="3178" y="1027"/>
                          <a:pt x="3130" y="945"/>
                          <a:pt x="3054" y="901"/>
                        </a:cubicBezTo>
                        <a:cubicBezTo>
                          <a:pt x="1767" y="159"/>
                          <a:pt x="1767" y="159"/>
                          <a:pt x="1767" y="159"/>
                        </a:cubicBezTo>
                        <a:cubicBezTo>
                          <a:pt x="1729" y="136"/>
                          <a:pt x="1686" y="125"/>
                          <a:pt x="1644" y="1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latin typeface="Lato" panose="020F0502020204030203" pitchFamily="34" charset="0"/>
                      <a:ea typeface="Lato" panose="020F0502020204030203" pitchFamily="34" charset="0"/>
                      <a:cs typeface="Lato" panose="020F0502020204030203" pitchFamily="34" charset="0"/>
                    </a:endParaRPr>
                  </a:p>
                </p:txBody>
              </p:sp>
              <p:sp>
                <p:nvSpPr>
                  <p:cNvPr id="114" name="Freeform 6">
                    <a:extLst>
                      <a:ext uri="{FF2B5EF4-FFF2-40B4-BE49-F238E27FC236}">
                        <a16:creationId xmlns:a16="http://schemas.microsoft.com/office/drawing/2014/main" id="{21FB897B-0FE3-48E0-BEA0-D15407B933C7}"/>
                      </a:ext>
                    </a:extLst>
                  </p:cNvPr>
                  <p:cNvSpPr>
                    <a:spLocks/>
                  </p:cNvSpPr>
                  <p:nvPr/>
                </p:nvSpPr>
                <p:spPr bwMode="auto">
                  <a:xfrm>
                    <a:off x="1466926" y="3135303"/>
                    <a:ext cx="642047" cy="728830"/>
                  </a:xfrm>
                  <a:custGeom>
                    <a:avLst/>
                    <a:gdLst>
                      <a:gd name="T0" fmla="*/ 2555 w 2555"/>
                      <a:gd name="T1" fmla="*/ 2045 h 2897"/>
                      <a:gd name="T2" fmla="*/ 2555 w 2555"/>
                      <a:gd name="T3" fmla="*/ 851 h 2897"/>
                      <a:gd name="T4" fmla="*/ 2433 w 2555"/>
                      <a:gd name="T5" fmla="*/ 641 h 2897"/>
                      <a:gd name="T6" fmla="*/ 1399 w 2555"/>
                      <a:gd name="T7" fmla="*/ 44 h 2897"/>
                      <a:gd name="T8" fmla="*/ 1156 w 2555"/>
                      <a:gd name="T9" fmla="*/ 44 h 2897"/>
                      <a:gd name="T10" fmla="*/ 122 w 2555"/>
                      <a:gd name="T11" fmla="*/ 641 h 2897"/>
                      <a:gd name="T12" fmla="*/ 0 w 2555"/>
                      <a:gd name="T13" fmla="*/ 851 h 2897"/>
                      <a:gd name="T14" fmla="*/ 0 w 2555"/>
                      <a:gd name="T15" fmla="*/ 2045 h 2897"/>
                      <a:gd name="T16" fmla="*/ 122 w 2555"/>
                      <a:gd name="T17" fmla="*/ 2256 h 2897"/>
                      <a:gd name="T18" fmla="*/ 1156 w 2555"/>
                      <a:gd name="T19" fmla="*/ 2853 h 2897"/>
                      <a:gd name="T20" fmla="*/ 1399 w 2555"/>
                      <a:gd name="T21" fmla="*/ 2853 h 2897"/>
                      <a:gd name="T22" fmla="*/ 2433 w 2555"/>
                      <a:gd name="T23" fmla="*/ 2256 h 2897"/>
                      <a:gd name="T24" fmla="*/ 2555 w 2555"/>
                      <a:gd name="T25" fmla="*/ 204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5" h="2897">
                        <a:moveTo>
                          <a:pt x="2555" y="2045"/>
                        </a:moveTo>
                        <a:cubicBezTo>
                          <a:pt x="2555" y="851"/>
                          <a:pt x="2555" y="851"/>
                          <a:pt x="2555" y="851"/>
                        </a:cubicBezTo>
                        <a:cubicBezTo>
                          <a:pt x="2555" y="764"/>
                          <a:pt x="2509" y="684"/>
                          <a:pt x="2433" y="641"/>
                        </a:cubicBezTo>
                        <a:cubicBezTo>
                          <a:pt x="1399" y="44"/>
                          <a:pt x="1399" y="44"/>
                          <a:pt x="1399" y="44"/>
                        </a:cubicBezTo>
                        <a:cubicBezTo>
                          <a:pt x="1324" y="0"/>
                          <a:pt x="1231" y="0"/>
                          <a:pt x="1156" y="44"/>
                        </a:cubicBezTo>
                        <a:cubicBezTo>
                          <a:pt x="122" y="641"/>
                          <a:pt x="122" y="641"/>
                          <a:pt x="122" y="641"/>
                        </a:cubicBezTo>
                        <a:cubicBezTo>
                          <a:pt x="47" y="684"/>
                          <a:pt x="0" y="764"/>
                          <a:pt x="0" y="851"/>
                        </a:cubicBezTo>
                        <a:cubicBezTo>
                          <a:pt x="0" y="2045"/>
                          <a:pt x="0" y="2045"/>
                          <a:pt x="0" y="2045"/>
                        </a:cubicBezTo>
                        <a:cubicBezTo>
                          <a:pt x="0" y="2132"/>
                          <a:pt x="47" y="2213"/>
                          <a:pt x="122" y="2256"/>
                        </a:cubicBezTo>
                        <a:cubicBezTo>
                          <a:pt x="1156" y="2853"/>
                          <a:pt x="1156" y="2853"/>
                          <a:pt x="1156" y="2853"/>
                        </a:cubicBezTo>
                        <a:cubicBezTo>
                          <a:pt x="1231" y="2897"/>
                          <a:pt x="1324" y="2897"/>
                          <a:pt x="1399" y="2853"/>
                        </a:cubicBezTo>
                        <a:cubicBezTo>
                          <a:pt x="2433" y="2256"/>
                          <a:pt x="2433" y="2256"/>
                          <a:pt x="2433" y="2256"/>
                        </a:cubicBezTo>
                        <a:cubicBezTo>
                          <a:pt x="2509" y="2213"/>
                          <a:pt x="2555" y="2132"/>
                          <a:pt x="2555" y="2045"/>
                        </a:cubicBezTo>
                        <a:close/>
                      </a:path>
                    </a:pathLst>
                  </a:custGeom>
                  <a:solidFill>
                    <a:srgbClr val="5791D8"/>
                  </a:solidFill>
                  <a:ln>
                    <a:noFill/>
                  </a:ln>
                </p:spPr>
                <p:txBody>
                  <a:bodyPr vert="horz" wrap="square" lIns="91440" tIns="45720" rIns="91440" bIns="45720" numCol="1" anchor="t" anchorCtr="0" compatLnSpc="1">
                    <a:prstTxWarp prst="textNoShape">
                      <a:avLst/>
                    </a:prstTxWarp>
                  </a:bodyPr>
                  <a:lstStyle/>
                  <a:p>
                    <a:endParaRPr lang="en-US" sz="1800" dirty="0">
                      <a:solidFill>
                        <a:srgbClr val="5791D8"/>
                      </a:solidFill>
                      <a:latin typeface="Lato" panose="020F0502020204030203" pitchFamily="34" charset="0"/>
                      <a:ea typeface="Lato" panose="020F0502020204030203" pitchFamily="34" charset="0"/>
                      <a:cs typeface="Lato" panose="020F0502020204030203" pitchFamily="34" charset="0"/>
                    </a:endParaRPr>
                  </a:p>
                </p:txBody>
              </p:sp>
            </p:grpSp>
            <p:pic>
              <p:nvPicPr>
                <p:cNvPr id="112" name="Graphic 111">
                  <a:extLst>
                    <a:ext uri="{FF2B5EF4-FFF2-40B4-BE49-F238E27FC236}">
                      <a16:creationId xmlns:a16="http://schemas.microsoft.com/office/drawing/2014/main" id="{9F2D72C5-77AE-4AF6-B307-50A21044395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54570" y="1831140"/>
                  <a:ext cx="778550" cy="778550"/>
                </a:xfrm>
                <a:prstGeom prst="rect">
                  <a:avLst/>
                </a:prstGeom>
              </p:spPr>
            </p:pic>
          </p:grpSp>
        </p:grpSp>
        <p:cxnSp>
          <p:nvCxnSpPr>
            <p:cNvPr id="49" name="Straight Connector 48">
              <a:extLst>
                <a:ext uri="{FF2B5EF4-FFF2-40B4-BE49-F238E27FC236}">
                  <a16:creationId xmlns:a16="http://schemas.microsoft.com/office/drawing/2014/main" id="{953889E9-4296-4B6D-AE9F-0C5895CB8BEC}"/>
                </a:ext>
              </a:extLst>
            </p:cNvPr>
            <p:cNvCxnSpPr>
              <a:cxnSpLocks/>
            </p:cNvCxnSpPr>
            <p:nvPr/>
          </p:nvCxnSpPr>
          <p:spPr>
            <a:xfrm flipV="1">
              <a:off x="10464172" y="2272506"/>
              <a:ext cx="0" cy="45720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5154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632CD3-0945-48BF-9DE1-3E9AB7331056}"/>
              </a:ext>
            </a:extLst>
          </p:cNvPr>
          <p:cNvPicPr>
            <a:picLocks noChangeAspect="1"/>
          </p:cNvPicPr>
          <p:nvPr/>
        </p:nvPicPr>
        <p:blipFill>
          <a:blip r:embed="rId2"/>
          <a:stretch>
            <a:fillRect/>
          </a:stretch>
        </p:blipFill>
        <p:spPr>
          <a:xfrm>
            <a:off x="668158" y="1050750"/>
            <a:ext cx="10893922" cy="5123912"/>
          </a:xfrm>
          <a:prstGeom prst="rect">
            <a:avLst/>
          </a:prstGeom>
        </p:spPr>
      </p:pic>
      <p:sp>
        <p:nvSpPr>
          <p:cNvPr id="24" name="Rectangle 23">
            <a:extLst>
              <a:ext uri="{FF2B5EF4-FFF2-40B4-BE49-F238E27FC236}">
                <a16:creationId xmlns:a16="http://schemas.microsoft.com/office/drawing/2014/main" id="{B0747269-601A-4216-89CB-1B6573D844D8}"/>
              </a:ext>
            </a:extLst>
          </p:cNvPr>
          <p:cNvSpPr/>
          <p:nvPr/>
        </p:nvSpPr>
        <p:spPr>
          <a:xfrm>
            <a:off x="0" y="6784848"/>
            <a:ext cx="12192000" cy="73152"/>
          </a:xfrm>
          <a:prstGeom prst="rect">
            <a:avLst/>
          </a:prstGeom>
          <a:gradFill>
            <a:gsLst>
              <a:gs pos="0">
                <a:srgbClr val="5791D8"/>
              </a:gs>
              <a:gs pos="97000">
                <a:schemeClr val="tx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B6EA1718-DA62-4DEE-A492-542987F6EF9C}"/>
              </a:ext>
            </a:extLst>
          </p:cNvPr>
          <p:cNvSpPr txBox="1"/>
          <p:nvPr/>
        </p:nvSpPr>
        <p:spPr>
          <a:xfrm>
            <a:off x="1905001" y="185875"/>
            <a:ext cx="8382000" cy="477054"/>
          </a:xfrm>
          <a:prstGeom prst="rect">
            <a:avLst/>
          </a:prstGeom>
          <a:noFill/>
        </p:spPr>
        <p:txBody>
          <a:bodyPr wrap="square">
            <a:spAutoFit/>
          </a:bodyPr>
          <a:lstStyle/>
          <a:p>
            <a:pPr algn="ctr"/>
            <a:r>
              <a:rPr lang="en-US" sz="2500" b="1" dirty="0">
                <a:latin typeface="+mj-lt"/>
              </a:rPr>
              <a:t>PRODUCT SUITE FOR RISK </a:t>
            </a:r>
            <a:r>
              <a:rPr lang="en-US" sz="2500" b="1" dirty="0">
                <a:solidFill>
                  <a:srgbClr val="5791D8"/>
                </a:solidFill>
                <a:latin typeface="+mj-lt"/>
              </a:rPr>
              <a:t>MANAGEMENT</a:t>
            </a:r>
          </a:p>
        </p:txBody>
      </p:sp>
      <p:grpSp>
        <p:nvGrpSpPr>
          <p:cNvPr id="31" name="Group 30">
            <a:extLst>
              <a:ext uri="{FF2B5EF4-FFF2-40B4-BE49-F238E27FC236}">
                <a16:creationId xmlns:a16="http://schemas.microsoft.com/office/drawing/2014/main" id="{46768AD9-6E88-4C67-ABA3-BF3ABEC21DB6}"/>
              </a:ext>
            </a:extLst>
          </p:cNvPr>
          <p:cNvGrpSpPr/>
          <p:nvPr/>
        </p:nvGrpSpPr>
        <p:grpSpPr>
          <a:xfrm>
            <a:off x="5719026" y="718174"/>
            <a:ext cx="753947" cy="261258"/>
            <a:chOff x="5719027" y="4173124"/>
            <a:chExt cx="753947" cy="261258"/>
          </a:xfrm>
        </p:grpSpPr>
        <p:sp>
          <p:nvSpPr>
            <p:cNvPr id="32" name="Isosceles Triangle 31">
              <a:extLst>
                <a:ext uri="{FF2B5EF4-FFF2-40B4-BE49-F238E27FC236}">
                  <a16:creationId xmlns:a16="http://schemas.microsoft.com/office/drawing/2014/main" id="{DBB4630C-6B92-4EC2-8CC9-8A34AF3D0D58}"/>
                </a:ext>
              </a:extLst>
            </p:cNvPr>
            <p:cNvSpPr/>
            <p:nvPr/>
          </p:nvSpPr>
          <p:spPr>
            <a:xfrm rot="10800000">
              <a:off x="6169915"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Isosceles Triangle 32">
              <a:extLst>
                <a:ext uri="{FF2B5EF4-FFF2-40B4-BE49-F238E27FC236}">
                  <a16:creationId xmlns:a16="http://schemas.microsoft.com/office/drawing/2014/main" id="{41107260-2010-4BE7-973D-B7C21EE0751F}"/>
                </a:ext>
              </a:extLst>
            </p:cNvPr>
            <p:cNvSpPr/>
            <p:nvPr/>
          </p:nvSpPr>
          <p:spPr>
            <a:xfrm rot="10800000">
              <a:off x="5719027" y="4173124"/>
              <a:ext cx="303059" cy="261258"/>
            </a:xfrm>
            <a:prstGeom prst="triangle">
              <a:avLst/>
            </a:prstGeom>
            <a:solidFill>
              <a:srgbClr val="579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Isosceles Triangle 33">
              <a:extLst>
                <a:ext uri="{FF2B5EF4-FFF2-40B4-BE49-F238E27FC236}">
                  <a16:creationId xmlns:a16="http://schemas.microsoft.com/office/drawing/2014/main" id="{2E25BFA3-4211-455D-AE97-544F12C67AC6}"/>
                </a:ext>
              </a:extLst>
            </p:cNvPr>
            <p:cNvSpPr/>
            <p:nvPr/>
          </p:nvSpPr>
          <p:spPr>
            <a:xfrm>
              <a:off x="5944471" y="4173124"/>
              <a:ext cx="303059" cy="261258"/>
            </a:xfrm>
            <a:prstGeom prst="triangle">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927283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theme1.xml><?xml version="1.0" encoding="utf-8"?>
<a:theme xmlns:a="http://schemas.openxmlformats.org/drawingml/2006/main" name="Office Theme">
  <a:themeElements>
    <a:clrScheme name="shapire">
      <a:dk1>
        <a:sysClr val="windowText" lastClr="000000"/>
      </a:dk1>
      <a:lt1>
        <a:sysClr val="window" lastClr="FFFFFF"/>
      </a:lt1>
      <a:dk2>
        <a:srgbClr val="44546A"/>
      </a:dk2>
      <a:lt2>
        <a:srgbClr val="E7E6E6"/>
      </a:lt2>
      <a:accent1>
        <a:srgbClr val="0087FA"/>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aphire">
      <a:majorFont>
        <a:latin typeface="Montserra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7_Office Theme">
  <a:themeElements>
    <a:clrScheme name="ThemeBMC">
      <a:dk1>
        <a:srgbClr val="000000"/>
      </a:dk1>
      <a:lt1>
        <a:srgbClr val="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83</TotalTime>
  <Words>1184</Words>
  <Application>Microsoft Office PowerPoint</Application>
  <PresentationFormat>Widescreen</PresentationFormat>
  <Paragraphs>186</Paragraphs>
  <Slides>11</Slides>
  <Notes>2</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11</vt:i4>
      </vt:variant>
    </vt:vector>
  </HeadingPairs>
  <TitlesOfParts>
    <vt:vector size="21" baseType="lpstr">
      <vt:lpstr>Montserrat Medium</vt:lpstr>
      <vt:lpstr>Lato</vt:lpstr>
      <vt:lpstr>Montserrat</vt:lpstr>
      <vt:lpstr>Open Sans</vt:lpstr>
      <vt:lpstr>Arial</vt:lpstr>
      <vt:lpstr>Calibri</vt:lpstr>
      <vt:lpstr>Wingdings</vt:lpstr>
      <vt:lpstr>Raleway</vt:lpstr>
      <vt:lpstr>Office Theme</vt:lpstr>
      <vt:lpstr>7_Office Theme</vt:lpstr>
      <vt:lpstr>PowerPoint Presentation</vt:lpstr>
      <vt:lpstr>PowerPoint Presentation</vt:lpstr>
      <vt:lpstr>PowerPoint Presentation</vt:lpstr>
      <vt:lpstr>PowerPoint Presentation</vt:lpstr>
      <vt:lpstr>PowerPoint Presentation</vt:lpstr>
      <vt:lpstr>OUR KEY CLIENTS - RISK MANAGEMENT PROJECT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hire</dc:title>
  <dc:creator>ahaseeb20@gmail.com</dc:creator>
  <cp:lastModifiedBy>Chandan Maheswari</cp:lastModifiedBy>
  <cp:revision>82</cp:revision>
  <dcterms:created xsi:type="dcterms:W3CDTF">2019-04-03T17:58:02Z</dcterms:created>
  <dcterms:modified xsi:type="dcterms:W3CDTF">2023-03-13T17:10:41Z</dcterms:modified>
</cp:coreProperties>
</file>